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90" r:id="rId2"/>
  </p:sldMasterIdLst>
  <p:notesMasterIdLst>
    <p:notesMasterId r:id="rId14"/>
  </p:notesMasterIdLst>
  <p:handoutMasterIdLst>
    <p:handoutMasterId r:id="rId15"/>
  </p:handoutMasterIdLst>
  <p:sldIdLst>
    <p:sldId id="262" r:id="rId3"/>
    <p:sldId id="317" r:id="rId4"/>
    <p:sldId id="408" r:id="rId5"/>
    <p:sldId id="409" r:id="rId6"/>
    <p:sldId id="287" r:id="rId7"/>
    <p:sldId id="334" r:id="rId8"/>
    <p:sldId id="406" r:id="rId9"/>
    <p:sldId id="410" r:id="rId10"/>
    <p:sldId id="411" r:id="rId11"/>
    <p:sldId id="412" r:id="rId12"/>
    <p:sldId id="415" r:id="rId13"/>
  </p:sldIdLst>
  <p:sldSz cx="12192000" cy="6858000"/>
  <p:notesSz cx="6805613" cy="99441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021" userDrawn="1">
          <p15:clr>
            <a:srgbClr val="A4A3A4"/>
          </p15:clr>
        </p15:guide>
        <p15:guide id="2" pos="3659" userDrawn="1">
          <p15:clr>
            <a:srgbClr val="A4A3A4"/>
          </p15:clr>
        </p15:guide>
        <p15:guide id="3" orient="horz" pos="1434" userDrawn="1">
          <p15:clr>
            <a:srgbClr val="A4A3A4"/>
          </p15:clr>
        </p15:guide>
        <p15:guide id="5" pos="7219" userDrawn="1">
          <p15:clr>
            <a:srgbClr val="A4A3A4"/>
          </p15:clr>
        </p15:guide>
        <p15:guide id="6" pos="1186" userDrawn="1">
          <p15:clr>
            <a:srgbClr val="A4A3A4"/>
          </p15:clr>
        </p15:guide>
        <p15:guide id="7" pos="492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djic, Nada (RS - Belgrade)" initials="SN(-B" lastIdx="1" clrIdx="0">
    <p:extLst>
      <p:ext uri="{19B8F6BF-5375-455C-9EA6-DF929625EA0E}">
        <p15:presenceInfo xmlns:p15="http://schemas.microsoft.com/office/powerpoint/2012/main" userId="S-1-5-21-2094927150-201071529-617630493-763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EEFF"/>
    <a:srgbClr val="DEDEDE"/>
    <a:srgbClr val="575757"/>
    <a:srgbClr val="FFFF99"/>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30" autoAdjust="0"/>
    <p:restoredTop sz="93979" autoAdjust="0"/>
  </p:normalViewPr>
  <p:slideViewPr>
    <p:cSldViewPr snapToGrid="0" snapToObjects="1">
      <p:cViewPr varScale="1">
        <p:scale>
          <a:sx n="85" d="100"/>
          <a:sy n="85" d="100"/>
        </p:scale>
        <p:origin x="102" y="150"/>
      </p:cViewPr>
      <p:guideLst>
        <p:guide pos="4021"/>
        <p:guide pos="3659"/>
        <p:guide orient="horz" pos="1434"/>
        <p:guide pos="7219"/>
        <p:guide pos="1186"/>
        <p:guide pos="4929"/>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20" d="100"/>
        <a:sy n="20" d="100"/>
      </p:scale>
      <p:origin x="0" y="0"/>
    </p:cViewPr>
  </p:sorterViewPr>
  <p:notesViewPr>
    <p:cSldViewPr snapToGrid="0" snapToObjects="1" showGuides="1">
      <p:cViewPr>
        <p:scale>
          <a:sx n="70" d="100"/>
          <a:sy n="70" d="100"/>
        </p:scale>
        <p:origin x="2300" y="-1324"/>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841" cy="497762"/>
          </a:xfrm>
          <a:prstGeom prst="rect">
            <a:avLst/>
          </a:prstGeom>
        </p:spPr>
        <p:txBody>
          <a:bodyPr vert="horz" lIns="91577" tIns="45789" rIns="91577" bIns="45789" rtlCol="0"/>
          <a:lstStyle>
            <a:lvl1pPr algn="l">
              <a:defRPr sz="1200"/>
            </a:lvl1pPr>
          </a:lstStyle>
          <a:p>
            <a:endParaRPr lang="nl-NL"/>
          </a:p>
        </p:txBody>
      </p:sp>
      <p:sp>
        <p:nvSpPr>
          <p:cNvPr id="3" name="Date Placeholder 2"/>
          <p:cNvSpPr>
            <a:spLocks noGrp="1"/>
          </p:cNvSpPr>
          <p:nvPr>
            <p:ph type="dt" sz="quarter" idx="1"/>
          </p:nvPr>
        </p:nvSpPr>
        <p:spPr>
          <a:xfrm>
            <a:off x="3854183" y="0"/>
            <a:ext cx="2949841" cy="497762"/>
          </a:xfrm>
          <a:prstGeom prst="rect">
            <a:avLst/>
          </a:prstGeom>
        </p:spPr>
        <p:txBody>
          <a:bodyPr vert="horz" lIns="91577" tIns="45789" rIns="91577" bIns="45789" rtlCol="0"/>
          <a:lstStyle>
            <a:lvl1pPr algn="r">
              <a:defRPr sz="1200"/>
            </a:lvl1pPr>
          </a:lstStyle>
          <a:p>
            <a:fld id="{6A8D2B28-A4DD-4DE0-90B5-F858E18FECB0}" type="datetimeFigureOut">
              <a:rPr lang="nl-NL" smtClean="0"/>
              <a:t>13-12-2017</a:t>
            </a:fld>
            <a:endParaRPr lang="nl-NL"/>
          </a:p>
        </p:txBody>
      </p:sp>
      <p:sp>
        <p:nvSpPr>
          <p:cNvPr id="4" name="Footer Placeholder 3"/>
          <p:cNvSpPr>
            <a:spLocks noGrp="1"/>
          </p:cNvSpPr>
          <p:nvPr>
            <p:ph type="ftr" sz="quarter" idx="2"/>
          </p:nvPr>
        </p:nvSpPr>
        <p:spPr>
          <a:xfrm>
            <a:off x="0" y="9446338"/>
            <a:ext cx="2949841" cy="497762"/>
          </a:xfrm>
          <a:prstGeom prst="rect">
            <a:avLst/>
          </a:prstGeom>
        </p:spPr>
        <p:txBody>
          <a:bodyPr vert="horz" lIns="91577" tIns="45789" rIns="91577" bIns="45789" rtlCol="0" anchor="b"/>
          <a:lstStyle>
            <a:lvl1pPr algn="l">
              <a:defRPr sz="1200"/>
            </a:lvl1pPr>
          </a:lstStyle>
          <a:p>
            <a:endParaRPr lang="nl-NL"/>
          </a:p>
        </p:txBody>
      </p:sp>
      <p:sp>
        <p:nvSpPr>
          <p:cNvPr id="5" name="Slide Number Placeholder 4"/>
          <p:cNvSpPr>
            <a:spLocks noGrp="1"/>
          </p:cNvSpPr>
          <p:nvPr>
            <p:ph type="sldNum" sz="quarter" idx="3"/>
          </p:nvPr>
        </p:nvSpPr>
        <p:spPr>
          <a:xfrm>
            <a:off x="3854183" y="9446338"/>
            <a:ext cx="2949841" cy="497762"/>
          </a:xfrm>
          <a:prstGeom prst="rect">
            <a:avLst/>
          </a:prstGeom>
        </p:spPr>
        <p:txBody>
          <a:bodyPr vert="horz" lIns="91577" tIns="45789" rIns="91577" bIns="45789" rtlCol="0" anchor="b"/>
          <a:lstStyle>
            <a:lvl1pPr algn="r">
              <a:defRPr sz="1200"/>
            </a:lvl1pPr>
          </a:lstStyle>
          <a:p>
            <a:fld id="{14145E7A-0C5D-4846-8F0F-6C67EBAC496E}" type="slidenum">
              <a:rPr lang="nl-NL" smtClean="0"/>
              <a:t>‹#›</a:t>
            </a:fld>
            <a:endParaRPr lang="nl-NL"/>
          </a:p>
        </p:txBody>
      </p:sp>
    </p:spTree>
    <p:extLst>
      <p:ext uri="{BB962C8B-B14F-4D97-AF65-F5344CB8AC3E}">
        <p14:creationId xmlns:p14="http://schemas.microsoft.com/office/powerpoint/2010/main" val="26173918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9099" cy="497205"/>
          </a:xfrm>
          <a:prstGeom prst="rect">
            <a:avLst/>
          </a:prstGeom>
        </p:spPr>
        <p:txBody>
          <a:bodyPr vert="horz" lIns="91577" tIns="45789" rIns="91577" bIns="45789" rtlCol="0"/>
          <a:lstStyle>
            <a:lvl1pPr algn="l">
              <a:defRPr sz="1200"/>
            </a:lvl1pPr>
          </a:lstStyle>
          <a:p>
            <a:endParaRPr lang="en-GB" dirty="0"/>
          </a:p>
        </p:txBody>
      </p:sp>
      <p:sp>
        <p:nvSpPr>
          <p:cNvPr id="3" name="Datumsplatzhalter 2"/>
          <p:cNvSpPr>
            <a:spLocks noGrp="1"/>
          </p:cNvSpPr>
          <p:nvPr>
            <p:ph type="dt" idx="1"/>
          </p:nvPr>
        </p:nvSpPr>
        <p:spPr>
          <a:xfrm>
            <a:off x="3854940" y="0"/>
            <a:ext cx="2949099" cy="497205"/>
          </a:xfrm>
          <a:prstGeom prst="rect">
            <a:avLst/>
          </a:prstGeom>
        </p:spPr>
        <p:txBody>
          <a:bodyPr vert="horz" lIns="91577" tIns="45789" rIns="91577" bIns="45789" rtlCol="0"/>
          <a:lstStyle>
            <a:lvl1pPr algn="r">
              <a:defRPr sz="1200"/>
            </a:lvl1pPr>
          </a:lstStyle>
          <a:p>
            <a:fld id="{F0A1BC65-3BCC-4E9B-9B82-4B7192AC52E3}" type="datetimeFigureOut">
              <a:rPr lang="en-GB" smtClean="0"/>
              <a:t>13/12/2017</a:t>
            </a:fld>
            <a:endParaRPr lang="en-GB" dirty="0"/>
          </a:p>
        </p:txBody>
      </p:sp>
      <p:sp>
        <p:nvSpPr>
          <p:cNvPr id="4" name="Folienbildplatzhalt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577" tIns="45789" rIns="91577" bIns="45789" rtlCol="0" anchor="ctr"/>
          <a:lstStyle/>
          <a:p>
            <a:endParaRPr lang="de-DE"/>
          </a:p>
        </p:txBody>
      </p:sp>
      <p:sp>
        <p:nvSpPr>
          <p:cNvPr id="5" name="Notizenplatzhalter 4"/>
          <p:cNvSpPr>
            <a:spLocks noGrp="1"/>
          </p:cNvSpPr>
          <p:nvPr>
            <p:ph type="body" sz="quarter" idx="3"/>
          </p:nvPr>
        </p:nvSpPr>
        <p:spPr>
          <a:xfrm>
            <a:off x="680562" y="4723448"/>
            <a:ext cx="5444490" cy="4474845"/>
          </a:xfrm>
          <a:prstGeom prst="rect">
            <a:avLst/>
          </a:prstGeom>
        </p:spPr>
        <p:txBody>
          <a:bodyPr vert="horz" lIns="91577" tIns="45789" rIns="91577" bIns="45789" rtlCol="0"/>
          <a:lstStyle/>
          <a:p>
            <a:pPr lvl="0"/>
            <a:r>
              <a:rPr lang="en-GB" dirty="0" err="1" smtClean="0"/>
              <a:t>Textmasterformat</a:t>
            </a:r>
            <a:r>
              <a:rPr lang="en-GB" dirty="0" smtClean="0"/>
              <a:t> </a:t>
            </a:r>
            <a:r>
              <a:rPr lang="en-GB" dirty="0" err="1" smtClean="0"/>
              <a:t>bearbeiten</a:t>
            </a:r>
            <a:endParaRPr lang="en-GB" dirty="0" smtClean="0"/>
          </a:p>
          <a:p>
            <a:pPr lvl="1"/>
            <a:r>
              <a:rPr lang="en-GB" dirty="0" err="1" smtClean="0"/>
              <a:t>Zweite</a:t>
            </a:r>
            <a:r>
              <a:rPr lang="en-GB" dirty="0" smtClean="0"/>
              <a:t> </a:t>
            </a:r>
            <a:r>
              <a:rPr lang="en-GB" dirty="0" err="1" smtClean="0"/>
              <a:t>Ebene</a:t>
            </a:r>
            <a:endParaRPr lang="en-GB" dirty="0" smtClean="0"/>
          </a:p>
          <a:p>
            <a:pPr lvl="2"/>
            <a:r>
              <a:rPr lang="en-GB" dirty="0" err="1" smtClean="0"/>
              <a:t>Dritte</a:t>
            </a:r>
            <a:r>
              <a:rPr lang="en-GB" dirty="0" smtClean="0"/>
              <a:t> </a:t>
            </a:r>
            <a:r>
              <a:rPr lang="en-GB" dirty="0" err="1" smtClean="0"/>
              <a:t>Ebene</a:t>
            </a:r>
            <a:endParaRPr lang="en-GB" dirty="0" smtClean="0"/>
          </a:p>
          <a:p>
            <a:pPr lvl="3"/>
            <a:r>
              <a:rPr lang="en-GB" dirty="0" err="1" smtClean="0"/>
              <a:t>Vierte</a:t>
            </a:r>
            <a:r>
              <a:rPr lang="en-GB" dirty="0" smtClean="0"/>
              <a:t> </a:t>
            </a:r>
            <a:r>
              <a:rPr lang="en-GB" dirty="0" err="1" smtClean="0"/>
              <a:t>Ebene</a:t>
            </a:r>
            <a:endParaRPr lang="en-GB" dirty="0" smtClean="0"/>
          </a:p>
          <a:p>
            <a:pPr lvl="4"/>
            <a:r>
              <a:rPr lang="en-GB" dirty="0" err="1" smtClean="0"/>
              <a:t>Fünfte</a:t>
            </a:r>
            <a:r>
              <a:rPr lang="en-GB" dirty="0" smtClean="0"/>
              <a:t> </a:t>
            </a:r>
            <a:r>
              <a:rPr lang="en-GB" dirty="0" err="1" smtClean="0"/>
              <a:t>Ebene</a:t>
            </a:r>
            <a:endParaRPr lang="en-GB" dirty="0"/>
          </a:p>
        </p:txBody>
      </p:sp>
      <p:sp>
        <p:nvSpPr>
          <p:cNvPr id="6" name="Fußzeilenplatzhalter 5"/>
          <p:cNvSpPr>
            <a:spLocks noGrp="1"/>
          </p:cNvSpPr>
          <p:nvPr>
            <p:ph type="ftr" sz="quarter" idx="4"/>
          </p:nvPr>
        </p:nvSpPr>
        <p:spPr>
          <a:xfrm>
            <a:off x="0" y="9445169"/>
            <a:ext cx="2949099" cy="497205"/>
          </a:xfrm>
          <a:prstGeom prst="rect">
            <a:avLst/>
          </a:prstGeom>
        </p:spPr>
        <p:txBody>
          <a:bodyPr vert="horz" lIns="91577" tIns="45789" rIns="91577" bIns="45789"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54940" y="9445169"/>
            <a:ext cx="2949099" cy="497205"/>
          </a:xfrm>
          <a:prstGeom prst="rect">
            <a:avLst/>
          </a:prstGeom>
        </p:spPr>
        <p:txBody>
          <a:bodyPr vert="horz" lIns="91577" tIns="45789" rIns="91577" bIns="45789" rtlCol="0" anchor="b"/>
          <a:lstStyle>
            <a:lvl1pPr algn="r">
              <a:defRPr sz="1200"/>
            </a:lvl1pPr>
          </a:lstStyle>
          <a:p>
            <a:fld id="{A35CC3DB-B3BC-456D-B636-76ABCF0B059A}" type="slidenum">
              <a:rPr lang="en-GB" smtClean="0"/>
              <a:t>‹#›</a:t>
            </a:fld>
            <a:endParaRPr lang="en-GB" dirty="0"/>
          </a:p>
        </p:txBody>
      </p:sp>
    </p:spTree>
    <p:extLst>
      <p:ext uri="{BB962C8B-B14F-4D97-AF65-F5344CB8AC3E}">
        <p14:creationId xmlns:p14="http://schemas.microsoft.com/office/powerpoint/2010/main" val="4146117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5CC3DB-B3BC-456D-B636-76ABCF0B059A}" type="slidenum">
              <a:rPr lang="en-GB" smtClean="0"/>
              <a:t>0</a:t>
            </a:fld>
            <a:endParaRPr lang="en-GB" dirty="0"/>
          </a:p>
        </p:txBody>
      </p:sp>
    </p:spTree>
    <p:extLst>
      <p:ext uri="{BB962C8B-B14F-4D97-AF65-F5344CB8AC3E}">
        <p14:creationId xmlns:p14="http://schemas.microsoft.com/office/powerpoint/2010/main" val="2478058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GB" smtClean="0"/>
              <a:t>9</a:t>
            </a:fld>
            <a:endParaRPr lang="en-GB" dirty="0"/>
          </a:p>
        </p:txBody>
      </p:sp>
    </p:spTree>
    <p:extLst>
      <p:ext uri="{BB962C8B-B14F-4D97-AF65-F5344CB8AC3E}">
        <p14:creationId xmlns:p14="http://schemas.microsoft.com/office/powerpoint/2010/main" val="2781442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9430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1</a:t>
            </a:fld>
            <a:endParaRPr lang="en-GB" dirty="0"/>
          </a:p>
        </p:txBody>
      </p:sp>
    </p:spTree>
    <p:extLst>
      <p:ext uri="{BB962C8B-B14F-4D97-AF65-F5344CB8AC3E}">
        <p14:creationId xmlns:p14="http://schemas.microsoft.com/office/powerpoint/2010/main" val="2747379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858" y="4641152"/>
            <a:ext cx="5444490" cy="4347400"/>
          </a:xfrm>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2</a:t>
            </a:fld>
            <a:endParaRPr lang="en-GB" dirty="0"/>
          </a:p>
        </p:txBody>
      </p:sp>
    </p:spTree>
    <p:extLst>
      <p:ext uri="{BB962C8B-B14F-4D97-AF65-F5344CB8AC3E}">
        <p14:creationId xmlns:p14="http://schemas.microsoft.com/office/powerpoint/2010/main" val="2508054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3</a:t>
            </a:fld>
            <a:endParaRPr lang="en-GB" dirty="0"/>
          </a:p>
        </p:txBody>
      </p:sp>
    </p:spTree>
    <p:extLst>
      <p:ext uri="{BB962C8B-B14F-4D97-AF65-F5344CB8AC3E}">
        <p14:creationId xmlns:p14="http://schemas.microsoft.com/office/powerpoint/2010/main" val="2283105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4</a:t>
            </a:fld>
            <a:endParaRPr lang="en-GB" dirty="0"/>
          </a:p>
        </p:txBody>
      </p:sp>
    </p:spTree>
    <p:extLst>
      <p:ext uri="{BB962C8B-B14F-4D97-AF65-F5344CB8AC3E}">
        <p14:creationId xmlns:p14="http://schemas.microsoft.com/office/powerpoint/2010/main" val="1375052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5</a:t>
            </a:fld>
            <a:endParaRPr lang="en-GB" dirty="0"/>
          </a:p>
        </p:txBody>
      </p:sp>
    </p:spTree>
    <p:extLst>
      <p:ext uri="{BB962C8B-B14F-4D97-AF65-F5344CB8AC3E}">
        <p14:creationId xmlns:p14="http://schemas.microsoft.com/office/powerpoint/2010/main" val="3767834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5CC3DB-B3BC-456D-B636-76ABCF0B059A}" type="slidenum">
              <a:rPr lang="en-GB" smtClean="0"/>
              <a:t>6</a:t>
            </a:fld>
            <a:endParaRPr lang="en-GB" dirty="0"/>
          </a:p>
        </p:txBody>
      </p:sp>
    </p:spTree>
    <p:extLst>
      <p:ext uri="{BB962C8B-B14F-4D97-AF65-F5344CB8AC3E}">
        <p14:creationId xmlns:p14="http://schemas.microsoft.com/office/powerpoint/2010/main" val="40182539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GB" smtClean="0"/>
              <a:t>7</a:t>
            </a:fld>
            <a:endParaRPr lang="en-GB" dirty="0"/>
          </a:p>
        </p:txBody>
      </p:sp>
    </p:spTree>
    <p:extLst>
      <p:ext uri="{BB962C8B-B14F-4D97-AF65-F5344CB8AC3E}">
        <p14:creationId xmlns:p14="http://schemas.microsoft.com/office/powerpoint/2010/main" val="1865344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35CC3DB-B3BC-456D-B636-76ABCF0B059A}" type="slidenum">
              <a:rPr lang="en-GB" smtClean="0"/>
              <a:t>8</a:t>
            </a:fld>
            <a:endParaRPr lang="en-GB" dirty="0"/>
          </a:p>
        </p:txBody>
      </p:sp>
    </p:spTree>
    <p:extLst>
      <p:ext uri="{BB962C8B-B14F-4D97-AF65-F5344CB8AC3E}">
        <p14:creationId xmlns:p14="http://schemas.microsoft.com/office/powerpoint/2010/main" val="20388720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4070806143"/>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spid="_x0000_s2598"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958" y="1593"/>
                        <a:ext cx="1953"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531692" y="4365109"/>
            <a:ext cx="7177846" cy="270843"/>
          </a:xfrm>
          <a:prstGeom prst="rect">
            <a:avLst/>
          </a:prstGeom>
        </p:spPr>
        <p:txBody>
          <a:bodyPr>
            <a:spAutoFit/>
          </a:bodyPr>
          <a:lstStyle>
            <a:lvl1pPr>
              <a:lnSpc>
                <a:spcPct val="110000"/>
              </a:lnSpc>
              <a:spcBef>
                <a:spcPts val="0"/>
              </a:spcBef>
              <a:defRPr sz="1600">
                <a:solidFill>
                  <a:schemeClr val="accent5"/>
                </a:solidFill>
              </a:defRPr>
            </a:lvl1pPr>
          </a:lstStyle>
          <a:p>
            <a:r>
              <a:rPr lang="en-GB" dirty="0" smtClean="0"/>
              <a:t>Location, </a:t>
            </a:r>
            <a:r>
              <a:rPr lang="en-GB" dirty="0" err="1" smtClean="0"/>
              <a:t>dd</a:t>
            </a:r>
            <a:r>
              <a:rPr lang="en-GB" dirty="0" smtClean="0"/>
              <a:t> Month </a:t>
            </a:r>
            <a:r>
              <a:rPr lang="en-GB" dirty="0" err="1" smtClean="0"/>
              <a:t>yyyy</a:t>
            </a:r>
            <a:endParaRPr lang="en-GB" dirty="0"/>
          </a:p>
        </p:txBody>
      </p:sp>
      <p:sp>
        <p:nvSpPr>
          <p:cNvPr id="7" name="Text Placeholder 6"/>
          <p:cNvSpPr>
            <a:spLocks noGrp="1"/>
          </p:cNvSpPr>
          <p:nvPr>
            <p:ph type="body" sz="quarter" idx="15" hasCustomPrompt="1"/>
          </p:nvPr>
        </p:nvSpPr>
        <p:spPr>
          <a:xfrm>
            <a:off x="531692" y="1872000"/>
            <a:ext cx="7177846" cy="828000"/>
          </a:xfrm>
        </p:spPr>
        <p:txBody>
          <a:bodyPr/>
          <a:lstStyle>
            <a:lvl1pPr>
              <a:spcBef>
                <a:spcPts val="0"/>
              </a:spcBef>
              <a:defRPr sz="2800">
                <a:solidFill>
                  <a:schemeClr val="accent1"/>
                </a:solidFill>
              </a:defRPr>
            </a:lvl1pPr>
          </a:lstStyle>
          <a:p>
            <a:pPr lvl="0"/>
            <a:r>
              <a:rPr lang="en-GB" noProof="0" dirty="0" smtClean="0"/>
              <a:t>Report</a:t>
            </a:r>
            <a:r>
              <a:rPr lang="en-GB" dirty="0" smtClean="0"/>
              <a:t> title runs here </a:t>
            </a:r>
            <a:br>
              <a:rPr lang="en-GB" dirty="0" smtClean="0"/>
            </a:br>
            <a:r>
              <a:rPr lang="en-GB" dirty="0" smtClean="0"/>
              <a:t>two lines if needed</a:t>
            </a:r>
            <a:endParaRPr lang="en-GB" dirty="0"/>
          </a:p>
        </p:txBody>
      </p:sp>
      <p:sp>
        <p:nvSpPr>
          <p:cNvPr id="11" name="Text Placeholder 10"/>
          <p:cNvSpPr>
            <a:spLocks noGrp="1"/>
          </p:cNvSpPr>
          <p:nvPr>
            <p:ph type="body" sz="quarter" idx="16" hasCustomPrompt="1"/>
          </p:nvPr>
        </p:nvSpPr>
        <p:spPr>
          <a:xfrm>
            <a:off x="531695" y="2722552"/>
            <a:ext cx="7178431" cy="1620000"/>
          </a:xfrm>
        </p:spPr>
        <p:txBody>
          <a:bodyPr/>
          <a:lstStyle>
            <a:lvl1pPr>
              <a:spcBef>
                <a:spcPts val="0"/>
              </a:spcBef>
              <a:defRPr sz="2800" baseline="0">
                <a:solidFill>
                  <a:schemeClr val="accent2"/>
                </a:solidFill>
              </a:defRPr>
            </a:lvl1pPr>
            <a:lvl2pPr>
              <a:defRPr sz="2800">
                <a:solidFill>
                  <a:schemeClr val="accent2"/>
                </a:solidFill>
              </a:defRPr>
            </a:lvl2pPr>
            <a:lvl3pPr>
              <a:defRPr sz="2800">
                <a:solidFill>
                  <a:schemeClr val="accent2"/>
                </a:solidFill>
              </a:defRPr>
            </a:lvl3pPr>
            <a:lvl4pPr>
              <a:defRPr sz="2800">
                <a:solidFill>
                  <a:schemeClr val="accent2"/>
                </a:solidFill>
              </a:defRPr>
            </a:lvl4pPr>
            <a:lvl5pPr>
              <a:defRPr sz="2800">
                <a:solidFill>
                  <a:schemeClr val="accent2"/>
                </a:solidFill>
              </a:defRPr>
            </a:lvl5pPr>
          </a:lstStyle>
          <a:p>
            <a:pPr lvl="0"/>
            <a:r>
              <a:rPr lang="en-GB" dirty="0" smtClean="0"/>
              <a:t>Subheading runs here </a:t>
            </a:r>
            <a:br>
              <a:rPr lang="en-GB" dirty="0" smtClean="0"/>
            </a:br>
            <a:r>
              <a:rPr lang="en-GB" dirty="0" smtClean="0"/>
              <a:t>two lines if needed</a:t>
            </a:r>
            <a:endParaRPr lang="en-GB" dirty="0"/>
          </a:p>
        </p:txBody>
      </p:sp>
      <p:pic>
        <p:nvPicPr>
          <p:cNvPr id="8" name="Picture 7" descr="DEL_PRI_RGB.gif"/>
          <p:cNvPicPr>
            <a:picLocks noChangeAspect="1"/>
          </p:cNvPicPr>
          <p:nvPr userDrawn="1"/>
        </p:nvPicPr>
        <p:blipFill>
          <a:blip r:embed="rId6" cstate="print"/>
          <a:stretch>
            <a:fillRect/>
          </a:stretch>
        </p:blipFill>
        <p:spPr>
          <a:xfrm>
            <a:off x="479733" y="406800"/>
            <a:ext cx="1727835" cy="323850"/>
          </a:xfrm>
          <a:prstGeom prst="rect">
            <a:avLst/>
          </a:prstGeom>
        </p:spPr>
      </p:pic>
    </p:spTree>
    <p:extLst>
      <p:ext uri="{BB962C8B-B14F-4D97-AF65-F5344CB8AC3E}">
        <p14:creationId xmlns:p14="http://schemas.microsoft.com/office/powerpoint/2010/main" val="1732124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Disclaimer FOR DELOITTE">
    <p:spTree>
      <p:nvGrpSpPr>
        <p:cNvPr id="1" name=""/>
        <p:cNvGrpSpPr/>
        <p:nvPr/>
      </p:nvGrpSpPr>
      <p:grpSpPr>
        <a:xfrm>
          <a:off x="0" y="0"/>
          <a:ext cx="0" cy="0"/>
          <a:chOff x="0" y="0"/>
          <a:chExt cx="0" cy="0"/>
        </a:xfrm>
      </p:grpSpPr>
      <p:sp>
        <p:nvSpPr>
          <p:cNvPr id="5" name="Text Placeholder 3"/>
          <p:cNvSpPr txBox="1">
            <a:spLocks/>
          </p:cNvSpPr>
          <p:nvPr userDrawn="1"/>
        </p:nvSpPr>
        <p:spPr bwMode="gray">
          <a:xfrm>
            <a:off x="539260" y="4815399"/>
            <a:ext cx="11121231" cy="1523494"/>
          </a:xfrm>
          <a:prstGeom prst="rect">
            <a:avLst/>
          </a:prstGeom>
        </p:spPr>
        <p:txBody>
          <a:bodyPr vert="horz" lIns="0" tIns="0" rIns="0" bIns="0" rtlCol="0" anchor="b" anchorCtr="0">
            <a:sp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23"/>
            <a:r>
              <a:rPr lang="en-US" sz="900" dirty="0" smtClean="0">
                <a:solidFill>
                  <a:schemeClr val="tx2"/>
                </a:solidFill>
              </a:rPr>
              <a:t>Deloitte refers to one or more of Deloitte </a:t>
            </a:r>
            <a:r>
              <a:rPr lang="en-US" sz="900" dirty="0" err="1" smtClean="0">
                <a:solidFill>
                  <a:schemeClr val="tx2"/>
                </a:solidFill>
              </a:rPr>
              <a:t>Touche</a:t>
            </a:r>
            <a:r>
              <a:rPr lang="en-US" sz="900" dirty="0" smtClean="0">
                <a:solidFill>
                  <a:schemeClr val="tx2"/>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This communication is for internal distribution and use only among personnel of Deloitte </a:t>
            </a:r>
            <a:r>
              <a:rPr lang="en-US" sz="900" dirty="0" err="1" smtClean="0">
                <a:solidFill>
                  <a:schemeClr val="tx2"/>
                </a:solidFill>
              </a:rPr>
              <a:t>Touche</a:t>
            </a:r>
            <a:r>
              <a:rPr lang="en-US" sz="900" dirty="0" smtClean="0">
                <a:solidFill>
                  <a:schemeClr val="tx2"/>
                </a:solidFill>
              </a:rPr>
              <a:t> Tohmatsu Limited, its member firms, and their related entities (collectively, the “Deloitte network”). None of the Deloitte network shall be responsible for any loss whatsoever sustained by any person who relies on this communication.</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 2017 Deloitte Serbia</a:t>
            </a:r>
          </a:p>
        </p:txBody>
      </p:sp>
      <p:pic>
        <p:nvPicPr>
          <p:cNvPr id="4" name="Picture 3" descr="DEL_PRI_RGB.gif"/>
          <p:cNvPicPr>
            <a:picLocks noChangeAspect="1"/>
          </p:cNvPicPr>
          <p:nvPr userDrawn="1"/>
        </p:nvPicPr>
        <p:blipFill>
          <a:blip r:embed="rId2" cstate="print"/>
          <a:stretch>
            <a:fillRect/>
          </a:stretch>
        </p:blipFill>
        <p:spPr>
          <a:xfrm>
            <a:off x="479733" y="3501008"/>
            <a:ext cx="1727835" cy="323850"/>
          </a:xfrm>
          <a:prstGeom prst="rect">
            <a:avLst/>
          </a:prstGeom>
        </p:spPr>
      </p:pic>
    </p:spTree>
    <p:extLst>
      <p:ext uri="{BB962C8B-B14F-4D97-AF65-F5344CB8AC3E}">
        <p14:creationId xmlns:p14="http://schemas.microsoft.com/office/powerpoint/2010/main" val="401021657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2" name="Title 1"/>
          <p:cNvSpPr>
            <a:spLocks noGrp="1"/>
          </p:cNvSpPr>
          <p:nvPr>
            <p:ph type="ctrTitle"/>
          </p:nvPr>
        </p:nvSpPr>
        <p:spPr bwMode="gray">
          <a:xfrm>
            <a:off x="503989"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07290028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smtClean="0"/>
              <a:t>Click icon to add picture</a:t>
            </a:r>
            <a:endParaRPr lang="en-US" noProof="0"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8079888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44073801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14783879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93897286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0153473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1947837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9603297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8158219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511912" y="728666"/>
            <a:ext cx="11168183" cy="601013"/>
          </a:xfrm>
          <a:prstGeom prst="rect">
            <a:avLst/>
          </a:prstGeom>
          <a:noFill/>
        </p:spPr>
        <p:txBody>
          <a:bodyPr anchor="t"/>
          <a:lstStyle>
            <a:lvl1pPr marL="0" marR="0" indent="0" algn="l" defTabSz="1005108" rtl="0" eaLnBrk="1" fontAlgn="auto" latinLnBrk="0" hangingPunct="1">
              <a:lnSpc>
                <a:spcPct val="100000"/>
              </a:lnSpc>
              <a:spcBef>
                <a:spcPts val="0"/>
              </a:spcBef>
              <a:spcAft>
                <a:spcPts val="0"/>
              </a:spcAft>
              <a:buClr>
                <a:schemeClr val="tx2"/>
              </a:buClr>
              <a:buSzTx/>
              <a:buFontTx/>
              <a:buNone/>
              <a:tabLst/>
              <a:defRPr lang="de-DE" sz="2000" b="0" kern="1200" dirty="0" smtClean="0">
                <a:solidFill>
                  <a:schemeClr val="accent5"/>
                </a:solidFill>
                <a:latin typeface="+mn-lt"/>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marL="0" lvl="0" indent="0" algn="l" defTabSz="1005108" rtl="0" eaLnBrk="1" latinLnBrk="0" hangingPunct="1">
              <a:lnSpc>
                <a:spcPct val="100000"/>
              </a:lnSpc>
              <a:spcBef>
                <a:spcPts val="0"/>
              </a:spcBef>
              <a:buClr>
                <a:schemeClr val="tx2"/>
              </a:buClr>
              <a:buFontTx/>
              <a:buNone/>
            </a:pPr>
            <a:r>
              <a:rPr lang="en-GB" dirty="0" smtClean="0"/>
              <a:t>Click here to enter slide message</a:t>
            </a:r>
          </a:p>
        </p:txBody>
      </p:sp>
      <p:sp>
        <p:nvSpPr>
          <p:cNvPr id="18" name="Content Placeholder 17"/>
          <p:cNvSpPr>
            <a:spLocks noGrp="1"/>
          </p:cNvSpPr>
          <p:nvPr>
            <p:ph sz="quarter" idx="15" hasCustomPrompt="1"/>
          </p:nvPr>
        </p:nvSpPr>
        <p:spPr>
          <a:xfrm>
            <a:off x="511910" y="1484317"/>
            <a:ext cx="11168183" cy="4824413"/>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2" name="Title 1"/>
          <p:cNvSpPr>
            <a:spLocks noGrp="1"/>
          </p:cNvSpPr>
          <p:nvPr>
            <p:ph type="title" hasCustomPrompt="1"/>
          </p:nvPr>
        </p:nvSpPr>
        <p:spPr/>
        <p:txBody>
          <a:bodyPr/>
          <a:lstStyle/>
          <a:p>
            <a:r>
              <a:rPr lang="en-GB" dirty="0" smtClean="0"/>
              <a:t>Click here to enter </a:t>
            </a:r>
            <a:r>
              <a:rPr lang="en-GB" noProof="0" dirty="0" smtClean="0"/>
              <a:t>chapter title</a:t>
            </a:r>
            <a:endParaRPr lang="en-GB" dirty="0"/>
          </a:p>
        </p:txBody>
      </p:sp>
      <p:sp>
        <p:nvSpPr>
          <p:cNvPr id="4" name="Footer Placeholder 3"/>
          <p:cNvSpPr>
            <a:spLocks noGrp="1"/>
          </p:cNvSpPr>
          <p:nvPr>
            <p:ph type="ftr" sz="quarter" idx="16"/>
          </p:nvPr>
        </p:nvSpPr>
        <p:spPr>
          <a:xfrm>
            <a:off x="1265922" y="6633646"/>
            <a:ext cx="65" cy="107722"/>
          </a:xfrm>
        </p:spPr>
        <p:txBody>
          <a:bodyPr/>
          <a:lstStyle/>
          <a:p>
            <a:endParaRPr lang="en-GB" noProof="0" dirty="0"/>
          </a:p>
        </p:txBody>
      </p:sp>
      <p:sp>
        <p:nvSpPr>
          <p:cNvPr id="7" name="Slide Number Placeholder 6"/>
          <p:cNvSpPr>
            <a:spLocks noGrp="1"/>
          </p:cNvSpPr>
          <p:nvPr>
            <p:ph type="sldNum" sz="quarter" idx="17"/>
          </p:nvPr>
        </p:nvSpPr>
        <p:spPr>
          <a:xfrm>
            <a:off x="537433" y="6633507"/>
            <a:ext cx="110608" cy="107722"/>
          </a:xfrm>
        </p:spPr>
        <p:txBody>
          <a:bodyPr/>
          <a:lstStyle/>
          <a:p>
            <a:fld id="{E7E69083-84D8-4E59-86E6-37E14A15C756}" type="slidenum">
              <a:rPr lang="en-GB" smtClean="0"/>
              <a:pPr/>
              <a:t>‹#›</a:t>
            </a:fld>
            <a:endParaRPr lang="en-GB" dirty="0"/>
          </a:p>
        </p:txBody>
      </p:sp>
      <p:sp>
        <p:nvSpPr>
          <p:cNvPr id="8" name="Fußzeilenplatzhalter 7"/>
          <p:cNvSpPr txBox="1">
            <a:spLocks/>
          </p:cNvSpPr>
          <p:nvPr userDrawn="1"/>
        </p:nvSpPr>
        <p:spPr>
          <a:xfrm>
            <a:off x="10195451" y="6643072"/>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tx1">
                    <a:lumMod val="50000"/>
                    <a:lumOff val="50000"/>
                  </a:schemeClr>
                </a:solidFill>
                <a:latin typeface="Frutiger Next Pro Light"/>
              </a:rPr>
              <a:t>© </a:t>
            </a:r>
            <a:r>
              <a:rPr lang="en-US" sz="800" dirty="0" smtClean="0">
                <a:solidFill>
                  <a:schemeClr val="tx1">
                    <a:lumMod val="50000"/>
                    <a:lumOff val="50000"/>
                  </a:schemeClr>
                </a:solidFill>
                <a:latin typeface="Frutiger Next Pro Light"/>
              </a:rPr>
              <a:t>2017 Deloitte Serbia</a:t>
            </a:r>
          </a:p>
        </p:txBody>
      </p:sp>
    </p:spTree>
    <p:extLst>
      <p:ext uri="{BB962C8B-B14F-4D97-AF65-F5344CB8AC3E}">
        <p14:creationId xmlns:p14="http://schemas.microsoft.com/office/powerpoint/2010/main" val="33573784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30887851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0753528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43107186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6085235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745483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6941719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036112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5965160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9090476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2433780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511909" y="1484313"/>
            <a:ext cx="5406843" cy="4824412"/>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8" name="Content Placeholder 17"/>
          <p:cNvSpPr>
            <a:spLocks noGrp="1"/>
          </p:cNvSpPr>
          <p:nvPr>
            <p:ph sz="quarter" idx="16" hasCustomPrompt="1"/>
          </p:nvPr>
        </p:nvSpPr>
        <p:spPr>
          <a:xfrm>
            <a:off x="6273803" y="1484313"/>
            <a:ext cx="5406843" cy="4824412"/>
          </a:xfrm>
        </p:spPr>
        <p:txBody>
          <a:bodyPr/>
          <a:lstStyle>
            <a:lvl1pPr>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2" name="Title 1"/>
          <p:cNvSpPr>
            <a:spLocks noGrp="1"/>
          </p:cNvSpPr>
          <p:nvPr>
            <p:ph type="title" hasCustomPrompt="1"/>
          </p:nvPr>
        </p:nvSpPr>
        <p:spPr/>
        <p:txBody>
          <a:bodyPr/>
          <a:lstStyle/>
          <a:p>
            <a:r>
              <a:rPr lang="en-GB" dirty="0" smtClean="0"/>
              <a:t>Click here to enter </a:t>
            </a:r>
            <a:r>
              <a:rPr lang="en-GB" noProof="0" dirty="0" smtClean="0"/>
              <a:t>chapter title</a:t>
            </a:r>
            <a:endParaRPr lang="en-GB" dirty="0"/>
          </a:p>
        </p:txBody>
      </p:sp>
      <p:sp>
        <p:nvSpPr>
          <p:cNvPr id="6" name="Footer Placeholder 5"/>
          <p:cNvSpPr>
            <a:spLocks noGrp="1"/>
          </p:cNvSpPr>
          <p:nvPr>
            <p:ph type="ftr" sz="quarter" idx="17"/>
          </p:nvPr>
        </p:nvSpPr>
        <p:spPr/>
        <p:txBody>
          <a:bodyPr/>
          <a:lstStyle/>
          <a:p>
            <a:endParaRPr lang="en-GB" dirty="0"/>
          </a:p>
        </p:txBody>
      </p:sp>
      <p:sp>
        <p:nvSpPr>
          <p:cNvPr id="7" name="Slide Number Placeholder 6"/>
          <p:cNvSpPr>
            <a:spLocks noGrp="1"/>
          </p:cNvSpPr>
          <p:nvPr>
            <p:ph type="sldNum" sz="quarter" idx="18"/>
          </p:nvPr>
        </p:nvSpPr>
        <p:spPr/>
        <p:txBody>
          <a:bodyPr/>
          <a:lstStyle/>
          <a:p>
            <a:fld id="{E7E69083-84D8-4E59-86E6-37E14A15C756}" type="slidenum">
              <a:rPr lang="en-GB" smtClean="0"/>
              <a:pPr/>
              <a:t>‹#›</a:t>
            </a:fld>
            <a:endParaRPr lang="en-GB" dirty="0"/>
          </a:p>
        </p:txBody>
      </p:sp>
      <p:sp>
        <p:nvSpPr>
          <p:cNvPr id="9" name="Textplatzhalter 2"/>
          <p:cNvSpPr>
            <a:spLocks noGrp="1"/>
          </p:cNvSpPr>
          <p:nvPr>
            <p:ph type="body" idx="1" hasCustomPrompt="1"/>
          </p:nvPr>
        </p:nvSpPr>
        <p:spPr>
          <a:xfrm>
            <a:off x="511912" y="728666"/>
            <a:ext cx="11168183" cy="601013"/>
          </a:xfrm>
          <a:prstGeom prst="rect">
            <a:avLst/>
          </a:prstGeom>
          <a:noFill/>
        </p:spPr>
        <p:txBody>
          <a:bodyPr anchor="t"/>
          <a:lstStyle>
            <a:lvl1pPr marL="0" marR="0" indent="0" algn="l" defTabSz="1005108" rtl="0" eaLnBrk="1" fontAlgn="auto" latinLnBrk="0" hangingPunct="1">
              <a:lnSpc>
                <a:spcPct val="100000"/>
              </a:lnSpc>
              <a:spcBef>
                <a:spcPts val="0"/>
              </a:spcBef>
              <a:spcAft>
                <a:spcPts val="0"/>
              </a:spcAft>
              <a:buClr>
                <a:schemeClr val="tx2"/>
              </a:buClr>
              <a:buSzTx/>
              <a:buFontTx/>
              <a:buNone/>
              <a:tabLst/>
              <a:defRPr lang="de-DE" sz="2000" b="0" kern="1200" dirty="0" smtClean="0">
                <a:solidFill>
                  <a:schemeClr val="accent5"/>
                </a:solidFill>
                <a:latin typeface="+mn-lt"/>
                <a:ea typeface="+mn-ea"/>
                <a:cs typeface="+mn-cs"/>
              </a:defRPr>
            </a:lvl1pPr>
            <a:lvl2pPr marL="457212" indent="0">
              <a:buNone/>
              <a:defRPr sz="2000" b="1"/>
            </a:lvl2pPr>
            <a:lvl3pPr marL="914423" indent="0">
              <a:buNone/>
              <a:defRPr sz="1800" b="1"/>
            </a:lvl3pPr>
            <a:lvl4pPr marL="1371634" indent="0">
              <a:buNone/>
              <a:defRPr sz="1600" b="1"/>
            </a:lvl4pPr>
            <a:lvl5pPr marL="1828846" indent="0">
              <a:buNone/>
              <a:defRPr sz="1600" b="1"/>
            </a:lvl5pPr>
            <a:lvl6pPr marL="2286057" indent="0">
              <a:buNone/>
              <a:defRPr sz="1600" b="1"/>
            </a:lvl6pPr>
            <a:lvl7pPr marL="2743269" indent="0">
              <a:buNone/>
              <a:defRPr sz="1600" b="1"/>
            </a:lvl7pPr>
            <a:lvl8pPr marL="3200480" indent="0">
              <a:buNone/>
              <a:defRPr sz="1600" b="1"/>
            </a:lvl8pPr>
            <a:lvl9pPr marL="3657691" indent="0">
              <a:buNone/>
              <a:defRPr sz="1600" b="1"/>
            </a:lvl9pPr>
          </a:lstStyle>
          <a:p>
            <a:pPr marL="0" lvl="0" indent="0" algn="l" defTabSz="1005108" rtl="0" eaLnBrk="1" latinLnBrk="0" hangingPunct="1">
              <a:lnSpc>
                <a:spcPct val="100000"/>
              </a:lnSpc>
              <a:spcBef>
                <a:spcPts val="0"/>
              </a:spcBef>
              <a:buClr>
                <a:schemeClr val="tx2"/>
              </a:buClr>
              <a:buFontTx/>
              <a:buNone/>
            </a:pPr>
            <a:r>
              <a:rPr lang="en-GB" dirty="0" smtClean="0"/>
              <a:t>Click here to enter slide message</a:t>
            </a:r>
          </a:p>
        </p:txBody>
      </p:sp>
      <p:sp>
        <p:nvSpPr>
          <p:cNvPr id="10"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tx2"/>
                </a:solidFill>
              </a:rPr>
              <a:t>© </a:t>
            </a:r>
            <a:r>
              <a:rPr lang="en-US" sz="800" dirty="0" smtClean="0">
                <a:solidFill>
                  <a:schemeClr val="tx2"/>
                </a:solidFill>
              </a:rPr>
              <a:t>2017 Deloitte Serbia</a:t>
            </a:r>
          </a:p>
        </p:txBody>
      </p:sp>
    </p:spTree>
    <p:extLst>
      <p:ext uri="{BB962C8B-B14F-4D97-AF65-F5344CB8AC3E}">
        <p14:creationId xmlns:p14="http://schemas.microsoft.com/office/powerpoint/2010/main" val="2334599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extLst mod="1">
    <p:ext uri="{DCECCB84-F9BA-43D5-87BE-67443E8EF086}">
      <p15:sldGuideLst xmlns:p15="http://schemas.microsoft.com/office/powerpoint/2012/main">
        <p15:guide id="1"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1392312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4543574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61390955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1114355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74352478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67678959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25394845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9376528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94957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3116490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GB" dirty="0" smtClean="0"/>
              <a:t>Click here to enter </a:t>
            </a:r>
            <a:r>
              <a:rPr lang="en-GB" noProof="0" dirty="0" smtClean="0"/>
              <a:t>chapter title</a:t>
            </a:r>
            <a:endParaRPr lang="en-GB" dirty="0"/>
          </a:p>
        </p:txBody>
      </p:sp>
      <p:sp>
        <p:nvSpPr>
          <p:cNvPr id="10" name="Text Placeholder 9"/>
          <p:cNvSpPr>
            <a:spLocks noGrp="1"/>
          </p:cNvSpPr>
          <p:nvPr>
            <p:ph type="body" sz="quarter" idx="12" hasCustomPrompt="1"/>
          </p:nvPr>
        </p:nvSpPr>
        <p:spPr>
          <a:xfrm>
            <a:off x="511911" y="731895"/>
            <a:ext cx="11168183" cy="609545"/>
          </a:xfrm>
        </p:spPr>
        <p:txBody>
          <a:bodyPr/>
          <a:lstStyle>
            <a:lvl1pPr marL="0" indent="0" algn="l" defTabSz="1005108" rtl="0" eaLnBrk="1" latinLnBrk="0" hangingPunct="1">
              <a:lnSpc>
                <a:spcPct val="100000"/>
              </a:lnSpc>
              <a:spcBef>
                <a:spcPts val="0"/>
              </a:spcBef>
              <a:buClr>
                <a:schemeClr val="tx2"/>
              </a:buClr>
              <a:buFontTx/>
              <a:buNone/>
              <a:defRPr sz="2000">
                <a:solidFill>
                  <a:schemeClr val="accent5"/>
                </a:solidFill>
              </a:defRPr>
            </a:lvl1pPr>
          </a:lstStyle>
          <a:p>
            <a:pPr marL="0" lvl="0" indent="0" algn="l" defTabSz="1005108" rtl="0" eaLnBrk="1" latinLnBrk="0" hangingPunct="1">
              <a:lnSpc>
                <a:spcPct val="100000"/>
              </a:lnSpc>
              <a:spcBef>
                <a:spcPts val="0"/>
              </a:spcBef>
              <a:buClr>
                <a:schemeClr val="tx2"/>
              </a:buClr>
              <a:buFontTx/>
              <a:buNone/>
            </a:pPr>
            <a:r>
              <a:rPr lang="en-GB" dirty="0" smtClean="0"/>
              <a:t>Click here to enter slide message</a:t>
            </a:r>
          </a:p>
        </p:txBody>
      </p:sp>
      <p:sp>
        <p:nvSpPr>
          <p:cNvPr id="4" name="Footer Placeholder 3"/>
          <p:cNvSpPr>
            <a:spLocks noGrp="1"/>
          </p:cNvSpPr>
          <p:nvPr>
            <p:ph type="ftr" sz="quarter" idx="13"/>
          </p:nvPr>
        </p:nvSpPr>
        <p:spPr/>
        <p:txBody>
          <a:bodyPr/>
          <a:lstStyle/>
          <a:p>
            <a:endParaRPr lang="en-GB" dirty="0"/>
          </a:p>
        </p:txBody>
      </p:sp>
      <p:sp>
        <p:nvSpPr>
          <p:cNvPr id="5" name="Slide Number Placeholder 4"/>
          <p:cNvSpPr>
            <a:spLocks noGrp="1"/>
          </p:cNvSpPr>
          <p:nvPr>
            <p:ph type="sldNum" sz="quarter" idx="14"/>
          </p:nvPr>
        </p:nvSpPr>
        <p:spPr/>
        <p:txBody>
          <a:bodyPr/>
          <a:lstStyle/>
          <a:p>
            <a:fld id="{E7E69083-84D8-4E59-86E6-37E14A15C756}" type="slidenum">
              <a:rPr lang="en-GB" smtClean="0"/>
              <a:pPr/>
              <a:t>‹#›</a:t>
            </a:fld>
            <a:endParaRPr lang="en-GB" dirty="0"/>
          </a:p>
        </p:txBody>
      </p:sp>
      <p:sp>
        <p:nvSpPr>
          <p:cNvPr id="7"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tx2"/>
                </a:solidFill>
              </a:rPr>
              <a:t>© </a:t>
            </a:r>
            <a:r>
              <a:rPr lang="en-US" sz="800" dirty="0" smtClean="0">
                <a:solidFill>
                  <a:schemeClr val="tx2"/>
                </a:solidFill>
              </a:rPr>
              <a:t>2017 Deloitte Serbia</a:t>
            </a:r>
          </a:p>
        </p:txBody>
      </p:sp>
    </p:spTree>
    <p:extLst>
      <p:ext uri="{BB962C8B-B14F-4D97-AF65-F5344CB8AC3E}">
        <p14:creationId xmlns:p14="http://schemas.microsoft.com/office/powerpoint/2010/main" val="20475457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1024394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8706398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390800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45282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1"/>
            <a:ext cx="11188700" cy="697888"/>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9292004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55901335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0193421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789405"/>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3031911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1084927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7581047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31692" y="2062801"/>
            <a:ext cx="11121231" cy="923330"/>
          </a:xfrm>
          <a:prstGeom prst="rect">
            <a:avLst/>
          </a:prstGeom>
        </p:spPr>
        <p:txBody>
          <a:bodyPr>
            <a:spAutoFit/>
          </a:bodyPr>
          <a:lstStyle>
            <a:lvl1pPr>
              <a:defRPr sz="6000">
                <a:solidFill>
                  <a:schemeClr val="bg2"/>
                </a:solidFill>
              </a:defRPr>
            </a:lvl1pPr>
          </a:lstStyle>
          <a:p>
            <a:r>
              <a:rPr lang="en-GB" noProof="0" dirty="0" smtClean="0"/>
              <a:t>Divider title</a:t>
            </a:r>
            <a:endParaRPr lang="en-GB" noProof="0" dirty="0"/>
          </a:p>
        </p:txBody>
      </p:sp>
      <p:sp>
        <p:nvSpPr>
          <p:cNvPr id="4" name="Text Placeholder 3"/>
          <p:cNvSpPr>
            <a:spLocks noGrp="1"/>
          </p:cNvSpPr>
          <p:nvPr>
            <p:ph type="body" sz="quarter" idx="10" hasCustomPrompt="1"/>
          </p:nvPr>
        </p:nvSpPr>
        <p:spPr>
          <a:xfrm>
            <a:off x="531694" y="3501013"/>
            <a:ext cx="11148400" cy="280771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6" name="Footer Placeholder 5"/>
          <p:cNvSpPr>
            <a:spLocks noGrp="1"/>
          </p:cNvSpPr>
          <p:nvPr>
            <p:ph type="ftr" sz="quarter" idx="11"/>
          </p:nvPr>
        </p:nvSpPr>
        <p:spPr>
          <a:xfrm>
            <a:off x="1265923" y="6459606"/>
            <a:ext cx="65" cy="107722"/>
          </a:xfrm>
        </p:spPr>
        <p:txBody>
          <a:bodyPr/>
          <a:lstStyle>
            <a:lvl1pPr>
              <a:defRPr>
                <a:solidFill>
                  <a:schemeClr val="bg1"/>
                </a:solidFill>
              </a:defRPr>
            </a:lvl1pPr>
          </a:lstStyle>
          <a:p>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E7E69083-84D8-4E59-86E6-37E14A15C756}" type="slidenum">
              <a:rPr lang="en-GB" smtClean="0"/>
              <a:pPr/>
              <a:t>‹#›</a:t>
            </a:fld>
            <a:endParaRPr lang="en-GB" dirty="0"/>
          </a:p>
        </p:txBody>
      </p:sp>
      <p:sp>
        <p:nvSpPr>
          <p:cNvPr id="8"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bg1"/>
                </a:solidFill>
              </a:rPr>
              <a:t>© </a:t>
            </a:r>
            <a:r>
              <a:rPr lang="en-US" sz="800" dirty="0" smtClean="0">
                <a:solidFill>
                  <a:schemeClr val="bg1"/>
                </a:solidFill>
              </a:rPr>
              <a:t>2015 Deloitte The Netherlands</a:t>
            </a:r>
          </a:p>
        </p:txBody>
      </p:sp>
    </p:spTree>
    <p:extLst>
      <p:ext uri="{BB962C8B-B14F-4D97-AF65-F5344CB8AC3E}">
        <p14:creationId xmlns:p14="http://schemas.microsoft.com/office/powerpoint/2010/main" val="30179429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79075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503988" y="378000"/>
            <a:ext cx="216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701578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Slide">
    <p:bg>
      <p:bgPr>
        <a:solidFill>
          <a:srgbClr val="00A1DE"/>
        </a:solidFill>
        <a:effectLst/>
      </p:bgPr>
    </p:bg>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531692" y="2016000"/>
            <a:ext cx="8772923" cy="4320000"/>
          </a:xfrm>
          <a:prstGeom prst="rect">
            <a:avLst/>
          </a:prstGeom>
        </p:spPr>
        <p:txBody>
          <a:bodyPr/>
          <a:lstStyle>
            <a:lvl1pPr>
              <a:buClrTx/>
              <a:defRPr sz="1400">
                <a:solidFill>
                  <a:schemeClr val="bg1"/>
                </a:solidFill>
              </a:defRPr>
            </a:lvl1pPr>
            <a:lvl2pPr>
              <a:buClrTx/>
              <a:defRPr sz="1400">
                <a:solidFill>
                  <a:schemeClr val="bg1"/>
                </a:solidFill>
              </a:defRPr>
            </a:lvl2pPr>
            <a:lvl3pPr>
              <a:buClrTx/>
              <a:defRPr sz="1400">
                <a:solidFill>
                  <a:schemeClr val="bg1"/>
                </a:solidFill>
              </a:defRPr>
            </a:lvl3pPr>
            <a:lvl4pPr>
              <a:buClrTx/>
              <a:defRPr sz="1400">
                <a:solidFill>
                  <a:schemeClr val="bg1"/>
                </a:solidFill>
              </a:defRPr>
            </a:lvl4pPr>
            <a:lvl5pPr>
              <a:buClrTx/>
              <a:defRPr sz="1400">
                <a:solidFill>
                  <a:schemeClr val="bg1"/>
                </a:solidFill>
              </a:defRPr>
            </a:lvl5pPr>
            <a:lvl6pPr>
              <a:buClrTx/>
              <a:defRPr sz="1000">
                <a:solidFill>
                  <a:schemeClr val="bg1"/>
                </a:solidFill>
              </a:defRPr>
            </a:lvl6pPr>
            <a:lvl7pPr>
              <a:buClrTx/>
              <a:defRPr sz="1000">
                <a:solidFill>
                  <a:schemeClr val="bg1"/>
                </a:solidFill>
              </a:defRPr>
            </a:lvl7pPr>
            <a:lvl8pPr>
              <a:buClrTx/>
              <a:defRPr sz="1000">
                <a:solidFill>
                  <a:schemeClr val="bg1"/>
                </a:solidFill>
              </a:defRPr>
            </a:lvl8pPr>
            <a:lvl9pPr>
              <a:buClrTx/>
              <a:defRPr sz="1000">
                <a:solidFill>
                  <a:schemeClr val="bg1"/>
                </a:solidFill>
              </a:defRPr>
            </a:lvl9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3" name="Footer Placeholder 2"/>
          <p:cNvSpPr>
            <a:spLocks noGrp="1"/>
          </p:cNvSpPr>
          <p:nvPr>
            <p:ph type="ftr" sz="quarter" idx="14"/>
          </p:nvPr>
        </p:nvSpPr>
        <p:spPr>
          <a:xfrm>
            <a:off x="1265922" y="6459606"/>
            <a:ext cx="65" cy="107722"/>
          </a:xfrm>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5"/>
          </p:nvPr>
        </p:nvSpPr>
        <p:spPr/>
        <p:txBody>
          <a:bodyPr/>
          <a:lstStyle>
            <a:lvl1pPr>
              <a:defRPr>
                <a:solidFill>
                  <a:schemeClr val="bg1"/>
                </a:solidFill>
              </a:defRPr>
            </a:lvl1pPr>
          </a:lstStyle>
          <a:p>
            <a:fld id="{E7E69083-84D8-4E59-86E6-37E14A15C756}" type="slidenum">
              <a:rPr lang="en-GB" smtClean="0"/>
              <a:pPr/>
              <a:t>‹#›</a:t>
            </a:fld>
            <a:endParaRPr lang="en-GB" dirty="0"/>
          </a:p>
        </p:txBody>
      </p:sp>
      <p:sp>
        <p:nvSpPr>
          <p:cNvPr id="7"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bg1"/>
                </a:solidFill>
              </a:rPr>
              <a:t>© </a:t>
            </a:r>
            <a:r>
              <a:rPr lang="en-US" sz="800" dirty="0" smtClean="0">
                <a:solidFill>
                  <a:schemeClr val="bg1"/>
                </a:solidFill>
              </a:rPr>
              <a:t>2015 Deloitte The Netherlands</a:t>
            </a:r>
          </a:p>
        </p:txBody>
      </p:sp>
    </p:spTree>
    <p:extLst>
      <p:ext uri="{BB962C8B-B14F-4D97-AF65-F5344CB8AC3E}">
        <p14:creationId xmlns:p14="http://schemas.microsoft.com/office/powerpoint/2010/main" val="1108392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531692" y="2016000"/>
            <a:ext cx="2481231" cy="4320000"/>
          </a:xfrm>
          <a:prstGeom prst="rect">
            <a:avLst/>
          </a:prstGeom>
        </p:spPr>
        <p:txBody>
          <a:bodyPr/>
          <a:lstStyle>
            <a:lvl1pPr>
              <a:lnSpc>
                <a:spcPct val="110000"/>
              </a:lnSpc>
              <a:spcBef>
                <a:spcPts val="0"/>
              </a:spcBef>
              <a:defRPr/>
            </a:lvl1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5" name="Textplatzhalter 4"/>
          <p:cNvSpPr>
            <a:spLocks noGrp="1"/>
          </p:cNvSpPr>
          <p:nvPr>
            <p:ph type="body" sz="quarter" idx="14" hasCustomPrompt="1"/>
          </p:nvPr>
        </p:nvSpPr>
        <p:spPr>
          <a:xfrm>
            <a:off x="3544615" y="2016000"/>
            <a:ext cx="8108308" cy="4320000"/>
          </a:xfrm>
          <a:prstGeom prst="rect">
            <a:avLst/>
          </a:prstGeom>
        </p:spPr>
        <p:txBody>
          <a:body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pic>
        <p:nvPicPr>
          <p:cNvPr id="12" name="Picture 9" descr="DEL_PRI_RGB.gif"/>
          <p:cNvPicPr>
            <a:picLocks noChangeAspect="1"/>
          </p:cNvPicPr>
          <p:nvPr userDrawn="1"/>
        </p:nvPicPr>
        <p:blipFill>
          <a:blip r:embed="rId2" cstate="print"/>
          <a:stretch>
            <a:fillRect/>
          </a:stretch>
        </p:blipFill>
        <p:spPr>
          <a:xfrm>
            <a:off x="465807" y="420161"/>
            <a:ext cx="2216766" cy="330545"/>
          </a:xfrm>
          <a:prstGeom prst="rect">
            <a:avLst/>
          </a:prstGeom>
        </p:spPr>
      </p:pic>
      <p:sp>
        <p:nvSpPr>
          <p:cNvPr id="6" name="Textplatzhalter 5"/>
          <p:cNvSpPr>
            <a:spLocks noGrp="1"/>
          </p:cNvSpPr>
          <p:nvPr>
            <p:ph type="body" sz="quarter" idx="15" hasCustomPrompt="1"/>
          </p:nvPr>
        </p:nvSpPr>
        <p:spPr>
          <a:xfrm>
            <a:off x="8861538" y="360000"/>
            <a:ext cx="2791385" cy="1440000"/>
          </a:xfrm>
          <a:prstGeom prst="rect">
            <a:avLst/>
          </a:prstGeom>
        </p:spPr>
        <p:txBody>
          <a:bodyPr/>
          <a:lstStyle>
            <a:lvl1pPr>
              <a:lnSpc>
                <a:spcPct val="110000"/>
              </a:lnSpc>
              <a:defRPr sz="1200"/>
            </a:lvl1pPr>
            <a:lvl2pPr>
              <a:defRPr sz="1200"/>
            </a:lvl2pPr>
            <a:lvl3pPr>
              <a:defRPr sz="1200"/>
            </a:lvl3pPr>
            <a:lvl4pPr>
              <a:defRPr sz="1200"/>
            </a:lvl4pPr>
            <a:lvl5pPr>
              <a:defRPr sz="1200"/>
            </a:lvl5p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3" name="Footer Placeholder 2"/>
          <p:cNvSpPr>
            <a:spLocks noGrp="1"/>
          </p:cNvSpPr>
          <p:nvPr>
            <p:ph type="ftr" sz="quarter" idx="16"/>
          </p:nvPr>
        </p:nvSpPr>
        <p:spPr/>
        <p:txBody>
          <a:bodyPr/>
          <a:lstStyle/>
          <a:p>
            <a:endParaRPr lang="en-GB" dirty="0"/>
          </a:p>
        </p:txBody>
      </p:sp>
      <p:sp>
        <p:nvSpPr>
          <p:cNvPr id="7" name="Slide Number Placeholder 6"/>
          <p:cNvSpPr>
            <a:spLocks noGrp="1"/>
          </p:cNvSpPr>
          <p:nvPr>
            <p:ph type="sldNum" sz="quarter" idx="17"/>
          </p:nvPr>
        </p:nvSpPr>
        <p:spPr/>
        <p:txBody>
          <a:bodyPr/>
          <a:lstStyle/>
          <a:p>
            <a:fld id="{E7E69083-84D8-4E59-86E6-37E14A15C756}" type="slidenum">
              <a:rPr lang="en-GB" smtClean="0"/>
              <a:pPr/>
              <a:t>‹#›</a:t>
            </a:fld>
            <a:endParaRPr lang="en-GB" dirty="0"/>
          </a:p>
        </p:txBody>
      </p:sp>
      <p:sp>
        <p:nvSpPr>
          <p:cNvPr id="9"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tx2"/>
                </a:solidFill>
              </a:rPr>
              <a:t>© </a:t>
            </a:r>
            <a:r>
              <a:rPr lang="en-US" sz="800" dirty="0" smtClean="0">
                <a:solidFill>
                  <a:schemeClr val="tx2"/>
                </a:solidFill>
              </a:rPr>
              <a:t>2015 Deloitte The Netherlands</a:t>
            </a:r>
          </a:p>
        </p:txBody>
      </p:sp>
    </p:spTree>
    <p:extLst>
      <p:ext uri="{BB962C8B-B14F-4D97-AF65-F5344CB8AC3E}">
        <p14:creationId xmlns:p14="http://schemas.microsoft.com/office/powerpoint/2010/main" val="4016447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531692" y="1700215"/>
            <a:ext cx="7798154" cy="4608513"/>
          </a:xfrm>
          <a:prstGeom prst="rect">
            <a:avLst/>
          </a:prstGeom>
        </p:spPr>
        <p:txBody>
          <a:bodyPr/>
          <a:lstStyle/>
          <a:p>
            <a:pPr lvl="0"/>
            <a:r>
              <a:rPr lang="en-GB" noProof="0" dirty="0" smtClean="0"/>
              <a:t>Click here to enter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 level</a:t>
            </a:r>
          </a:p>
          <a:p>
            <a:pPr lvl="6"/>
            <a:r>
              <a:rPr lang="en-GB" noProof="0" dirty="0" smtClean="0"/>
              <a:t>Seventh level</a:t>
            </a:r>
          </a:p>
          <a:p>
            <a:pPr lvl="7"/>
            <a:r>
              <a:rPr lang="en-GB" noProof="0" dirty="0" smtClean="0"/>
              <a:t>Eight level</a:t>
            </a:r>
          </a:p>
          <a:p>
            <a:pPr lvl="8"/>
            <a:r>
              <a:rPr lang="en-GB" noProof="0" dirty="0" smtClean="0"/>
              <a:t>Ninth level</a:t>
            </a:r>
            <a:endParaRPr lang="en-GB" noProof="0" dirty="0"/>
          </a:p>
        </p:txBody>
      </p:sp>
      <p:sp>
        <p:nvSpPr>
          <p:cNvPr id="5" name="Textplatzhalter 4"/>
          <p:cNvSpPr>
            <a:spLocks noGrp="1"/>
          </p:cNvSpPr>
          <p:nvPr>
            <p:ph type="body" sz="quarter" idx="14" hasCustomPrompt="1"/>
          </p:nvPr>
        </p:nvSpPr>
        <p:spPr>
          <a:xfrm>
            <a:off x="8861540" y="1700215"/>
            <a:ext cx="2818554" cy="4608513"/>
          </a:xfrm>
          <a:prstGeom prst="rect">
            <a:avLst/>
          </a:prstGeom>
        </p:spPr>
        <p:txBody>
          <a:bodyPr/>
          <a:lstStyle>
            <a:lvl1pPr marL="0" marR="0" indent="0" algn="l" defTabSz="914423" rtl="0" eaLnBrk="1" fontAlgn="auto" latinLnBrk="0" hangingPunct="1">
              <a:lnSpc>
                <a:spcPct val="100000"/>
              </a:lnSpc>
              <a:spcBef>
                <a:spcPts val="600"/>
              </a:spcBef>
              <a:spcAft>
                <a:spcPts val="0"/>
              </a:spcAft>
              <a:buClr>
                <a:srgbClr val="313131"/>
              </a:buClr>
              <a:buSzTx/>
              <a:buFont typeface="Arial" panose="020B0604020202020204" pitchFamily="34" charset="0"/>
              <a:buNone/>
              <a:tabLst/>
              <a:defRPr sz="1700"/>
            </a:lvl1pPr>
            <a:lvl2pPr marL="0" marR="0" indent="0" algn="l" defTabSz="914423" rtl="0" eaLnBrk="1" fontAlgn="auto" latinLnBrk="0" hangingPunct="1">
              <a:lnSpc>
                <a:spcPct val="100000"/>
              </a:lnSpc>
              <a:spcBef>
                <a:spcPts val="600"/>
              </a:spcBef>
              <a:spcAft>
                <a:spcPts val="0"/>
              </a:spcAft>
              <a:buClr>
                <a:srgbClr val="313131"/>
              </a:buClr>
              <a:buSzTx/>
              <a:buFont typeface="Arial" panose="020B0604020202020204" pitchFamily="34" charset="0"/>
              <a:buNone/>
              <a:tabLst/>
              <a:defRPr sz="1700"/>
            </a:lvl2pPr>
            <a:lvl3pPr marL="180005" marR="0"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sz="1700"/>
            </a:lvl3pPr>
            <a:lvl4pPr marL="360009" marR="0"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sz="1700"/>
            </a:lvl4pPr>
            <a:lvl5pPr marL="540014" marR="0"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sz="1700"/>
            </a:lvl5pPr>
            <a:lvl6pPr marL="720018" marR="0"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lvl6pPr>
            <a:lvl7pPr marL="900023" marR="0" indent="-179393"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lvl7pPr>
            <a:lvl8pPr marL="1080027" marR="0" indent="-179393"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lvl8pPr>
            <a:lvl9pPr marL="1260032" marR="0"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lvl9pPr>
          </a:lstStyle>
          <a:p>
            <a:pPr marL="0" marR="0" lvl="0" indent="0" algn="l" defTabSz="914423" rtl="0" eaLnBrk="1" fontAlgn="auto" latinLnBrk="0" hangingPunct="1">
              <a:lnSpc>
                <a:spcPct val="100000"/>
              </a:lnSpc>
              <a:spcBef>
                <a:spcPts val="600"/>
              </a:spcBef>
              <a:spcAft>
                <a:spcPts val="0"/>
              </a:spcAft>
              <a:buClr>
                <a:srgbClr val="313131"/>
              </a:buClr>
              <a:buSzTx/>
              <a:buFont typeface="Arial" panose="020B0604020202020204" pitchFamily="34" charset="0"/>
              <a:buNone/>
              <a:tabLst/>
              <a:defRPr/>
            </a:pPr>
            <a:r>
              <a:rPr kumimoji="0" lang="en-GB" sz="1400" b="0" i="0" u="none" strike="noStrike" kern="1200" cap="none" spc="0" normalizeH="0" baseline="0" noProof="0" dirty="0" smtClean="0">
                <a:ln>
                  <a:noFill/>
                </a:ln>
                <a:solidFill>
                  <a:srgbClr val="313131"/>
                </a:solidFill>
                <a:effectLst/>
                <a:uLnTx/>
                <a:uFillTx/>
                <a:latin typeface="+mn-lt"/>
                <a:ea typeface="+mn-ea"/>
                <a:cs typeface="+mn-cs"/>
              </a:rPr>
              <a:t>Click here to enter text</a:t>
            </a:r>
          </a:p>
          <a:p>
            <a:pPr marL="0" marR="0" lvl="1" indent="0" algn="l" defTabSz="914423" rtl="0" eaLnBrk="1" fontAlgn="auto" latinLnBrk="0" hangingPunct="1">
              <a:lnSpc>
                <a:spcPct val="100000"/>
              </a:lnSpc>
              <a:spcBef>
                <a:spcPts val="600"/>
              </a:spcBef>
              <a:spcAft>
                <a:spcPts val="0"/>
              </a:spcAft>
              <a:buClr>
                <a:srgbClr val="313131"/>
              </a:buClr>
              <a:buSzTx/>
              <a:buFont typeface="Arial" panose="020B0604020202020204" pitchFamily="34" charset="0"/>
              <a:buNone/>
              <a:tabLst/>
              <a:defRPr/>
            </a:pPr>
            <a:r>
              <a:rPr kumimoji="0" lang="en-GB" sz="1400" b="1" i="0" u="none" strike="noStrike" kern="1200" cap="none" spc="0" normalizeH="0" baseline="0" noProof="0" dirty="0" smtClean="0">
                <a:ln>
                  <a:noFill/>
                </a:ln>
                <a:solidFill>
                  <a:srgbClr val="00A1DE"/>
                </a:solidFill>
                <a:effectLst/>
                <a:uLnTx/>
                <a:uFillTx/>
                <a:latin typeface="+mn-lt"/>
                <a:ea typeface="+mn-ea"/>
                <a:cs typeface="+mn-cs"/>
              </a:rPr>
              <a:t>Second level</a:t>
            </a:r>
          </a:p>
          <a:p>
            <a:pPr marL="180005" marR="0" lvl="2"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smtClean="0">
                <a:ln>
                  <a:noFill/>
                </a:ln>
                <a:solidFill>
                  <a:srgbClr val="313131"/>
                </a:solidFill>
                <a:effectLst/>
                <a:uLnTx/>
                <a:uFillTx/>
                <a:latin typeface="+mn-lt"/>
                <a:ea typeface="+mn-ea"/>
                <a:cs typeface="+mn-cs"/>
              </a:rPr>
              <a:t>Third level</a:t>
            </a:r>
          </a:p>
          <a:p>
            <a:pPr marL="360009" marR="0" lvl="3"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smtClean="0">
                <a:ln>
                  <a:noFill/>
                </a:ln>
                <a:solidFill>
                  <a:srgbClr val="313131"/>
                </a:solidFill>
                <a:effectLst/>
                <a:uLnTx/>
                <a:uFillTx/>
                <a:latin typeface="+mn-lt"/>
                <a:ea typeface="+mn-ea"/>
                <a:cs typeface="+mn-cs"/>
              </a:rPr>
              <a:t>Fourth level</a:t>
            </a:r>
          </a:p>
          <a:p>
            <a:pPr marL="540014" marR="0" lvl="4"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smtClean="0">
                <a:ln>
                  <a:noFill/>
                </a:ln>
                <a:solidFill>
                  <a:srgbClr val="313131"/>
                </a:solidFill>
                <a:effectLst/>
                <a:uLnTx/>
                <a:uFillTx/>
                <a:latin typeface="+mn-lt"/>
                <a:ea typeface="+mn-ea"/>
                <a:cs typeface="+mn-cs"/>
              </a:rPr>
              <a:t>Fifth level</a:t>
            </a:r>
          </a:p>
          <a:p>
            <a:pPr marL="720018" marR="0" lvl="5"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Six level</a:t>
            </a:r>
          </a:p>
          <a:p>
            <a:pPr marL="900023" marR="0" lvl="6" indent="-179393"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Seventh level</a:t>
            </a:r>
          </a:p>
          <a:p>
            <a:pPr marL="1080027" marR="0" lvl="7" indent="-179393"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Eight level</a:t>
            </a:r>
          </a:p>
          <a:p>
            <a:pPr marL="1260032" marR="0" lvl="8" indent="-180005" algn="l" defTabSz="914423"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smtClean="0">
                <a:ln>
                  <a:noFill/>
                </a:ln>
                <a:solidFill>
                  <a:prstClr val="black"/>
                </a:solidFill>
                <a:effectLst/>
                <a:uLnTx/>
                <a:uFillTx/>
                <a:latin typeface="+mn-lt"/>
                <a:ea typeface="+mn-ea"/>
                <a:cs typeface="+mn-cs"/>
              </a:rPr>
              <a:t>Ninth level</a:t>
            </a:r>
            <a:endParaRPr kumimoji="0" lang="en-GB"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Fußzeilenplatzhalter 7"/>
          <p:cNvSpPr txBox="1">
            <a:spLocks/>
          </p:cNvSpPr>
          <p:nvPr userDrawn="1"/>
        </p:nvSpPr>
        <p:spPr>
          <a:xfrm>
            <a:off x="9818261" y="6459466"/>
            <a:ext cx="1861831" cy="209894"/>
          </a:xfrm>
          <a:prstGeom prst="rect">
            <a:avLst/>
          </a:prstGeom>
        </p:spPr>
        <p:txBody>
          <a:bodyPr lIns="0" tIns="0" rIns="0" bIns="0"/>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423"/>
            <a:r>
              <a:rPr lang="en-GB" sz="700" dirty="0" smtClean="0">
                <a:solidFill>
                  <a:schemeClr val="tx2"/>
                </a:solidFill>
              </a:rPr>
              <a:t>© </a:t>
            </a:r>
            <a:r>
              <a:rPr lang="en-US" sz="800" dirty="0" smtClean="0">
                <a:solidFill>
                  <a:schemeClr val="tx2"/>
                </a:solidFill>
              </a:rPr>
              <a:t>2015 Deloitte The Netherlands</a:t>
            </a:r>
          </a:p>
        </p:txBody>
      </p:sp>
      <p:sp>
        <p:nvSpPr>
          <p:cNvPr id="6" name="Title 5"/>
          <p:cNvSpPr>
            <a:spLocks noGrp="1"/>
          </p:cNvSpPr>
          <p:nvPr>
            <p:ph type="title" hasCustomPrompt="1"/>
          </p:nvPr>
        </p:nvSpPr>
        <p:spPr>
          <a:xfrm>
            <a:off x="511911" y="343225"/>
            <a:ext cx="11168183" cy="307777"/>
          </a:xfrm>
        </p:spPr>
        <p:txBody>
          <a:bodyPr/>
          <a:lstStyle/>
          <a:p>
            <a:r>
              <a:rPr lang="en-GB" dirty="0" smtClean="0"/>
              <a:t>Click here to enter </a:t>
            </a:r>
            <a:r>
              <a:rPr lang="en-GB" noProof="0" dirty="0" smtClean="0"/>
              <a:t>chapter title</a:t>
            </a:r>
            <a:endParaRPr lang="en-GB" dirty="0"/>
          </a:p>
        </p:txBody>
      </p:sp>
      <p:sp>
        <p:nvSpPr>
          <p:cNvPr id="4" name="Footer Placeholder 3"/>
          <p:cNvSpPr>
            <a:spLocks noGrp="1"/>
          </p:cNvSpPr>
          <p:nvPr>
            <p:ph type="ftr" sz="quarter" idx="15"/>
          </p:nvPr>
        </p:nvSpPr>
        <p:spPr/>
        <p:txBody>
          <a:bodyPr/>
          <a:lstStyle/>
          <a:p>
            <a:endParaRPr lang="en-GB" dirty="0"/>
          </a:p>
        </p:txBody>
      </p:sp>
      <p:sp>
        <p:nvSpPr>
          <p:cNvPr id="7" name="Slide Number Placeholder 6"/>
          <p:cNvSpPr>
            <a:spLocks noGrp="1"/>
          </p:cNvSpPr>
          <p:nvPr>
            <p:ph type="sldNum" sz="quarter" idx="16"/>
          </p:nvPr>
        </p:nvSpPr>
        <p:spPr/>
        <p:txBody>
          <a:bodyPr/>
          <a:lstStyle/>
          <a:p>
            <a:fld id="{E7E69083-84D8-4E59-86E6-37E14A15C756}" type="slidenum">
              <a:rPr lang="en-GB" smtClean="0"/>
              <a:pPr/>
              <a:t>‹#›</a:t>
            </a:fld>
            <a:endParaRPr lang="en-GB" dirty="0"/>
          </a:p>
        </p:txBody>
      </p:sp>
    </p:spTree>
    <p:extLst>
      <p:ext uri="{BB962C8B-B14F-4D97-AF65-F5344CB8AC3E}">
        <p14:creationId xmlns:p14="http://schemas.microsoft.com/office/powerpoint/2010/main" val="33697310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Disclaimer FOR CLIENT">
    <p:spTree>
      <p:nvGrpSpPr>
        <p:cNvPr id="1" name=""/>
        <p:cNvGrpSpPr/>
        <p:nvPr/>
      </p:nvGrpSpPr>
      <p:grpSpPr>
        <a:xfrm>
          <a:off x="0" y="0"/>
          <a:ext cx="0" cy="0"/>
          <a:chOff x="0" y="0"/>
          <a:chExt cx="0" cy="0"/>
        </a:xfrm>
      </p:grpSpPr>
      <p:sp>
        <p:nvSpPr>
          <p:cNvPr id="5" name="Text Placeholder 3"/>
          <p:cNvSpPr txBox="1">
            <a:spLocks/>
          </p:cNvSpPr>
          <p:nvPr userDrawn="1"/>
        </p:nvSpPr>
        <p:spPr bwMode="gray">
          <a:xfrm>
            <a:off x="539260" y="4815399"/>
            <a:ext cx="11121231" cy="1523494"/>
          </a:xfrm>
          <a:prstGeom prst="rect">
            <a:avLst/>
          </a:prstGeom>
        </p:spPr>
        <p:txBody>
          <a:bodyPr vert="horz" lIns="0" tIns="0" rIns="0" bIns="0" rtlCol="0" anchor="b" anchorCtr="0">
            <a:spAutoFit/>
          </a:bodyPr>
          <a:lstStyle>
            <a:lvl1pPr marL="0" indent="0" algn="l" defTabSz="1005083" rtl="0" eaLnBrk="1" latinLnBrk="0" hangingPunct="1">
              <a:lnSpc>
                <a:spcPct val="100000"/>
              </a:lnSpc>
              <a:spcBef>
                <a:spcPts val="600"/>
              </a:spcBef>
              <a:buFontTx/>
              <a:buNone/>
              <a:defRPr sz="1400" b="0" kern="1200">
                <a:solidFill>
                  <a:schemeClr val="tx2"/>
                </a:solidFill>
                <a:latin typeface="+mn-lt"/>
                <a:ea typeface="+mn-ea"/>
                <a:cs typeface="+mn-cs"/>
              </a:defRPr>
            </a:lvl1pPr>
            <a:lvl2pPr marL="0" indent="0" algn="l" defTabSz="1005083" rtl="0" eaLnBrk="1" latinLnBrk="0" hangingPunct="1">
              <a:lnSpc>
                <a:spcPct val="100000"/>
              </a:lnSpc>
              <a:spcBef>
                <a:spcPts val="600"/>
              </a:spcBef>
              <a:buFontTx/>
              <a:buNone/>
              <a:defRPr sz="1400" b="1" kern="1200">
                <a:solidFill>
                  <a:schemeClr val="accent3"/>
                </a:solidFill>
                <a:latin typeface="+mn-lt"/>
                <a:ea typeface="+mn-ea"/>
                <a:cs typeface="+mn-cs"/>
              </a:defRPr>
            </a:lvl2pPr>
            <a:lvl3pPr marL="18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3pPr>
            <a:lvl4pPr marL="36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4pPr>
            <a:lvl5pPr marL="540000" indent="-180000" algn="l" defTabSz="1005083" rtl="0" eaLnBrk="1" latinLnBrk="0" hangingPunct="1">
              <a:lnSpc>
                <a:spcPct val="100000"/>
              </a:lnSpc>
              <a:spcBef>
                <a:spcPts val="600"/>
              </a:spcBef>
              <a:buClr>
                <a:schemeClr val="tx2"/>
              </a:buClr>
              <a:buFont typeface="Arial" pitchFamily="34" charset="0"/>
              <a:buChar char="•"/>
              <a:defRPr sz="1400" kern="1200">
                <a:solidFill>
                  <a:schemeClr val="tx2"/>
                </a:solidFill>
                <a:latin typeface="+mn-lt"/>
                <a:ea typeface="+mn-ea"/>
                <a:cs typeface="+mn-cs"/>
              </a:defRPr>
            </a:lvl5pPr>
            <a:lvl6pPr marL="2763979"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266520"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769062"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271604" indent="-251270" algn="l" defTabSz="100508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914423"/>
            <a:r>
              <a:rPr lang="en-US" sz="900" dirty="0" smtClean="0">
                <a:solidFill>
                  <a:schemeClr val="tx2"/>
                </a:solidFill>
              </a:rPr>
              <a:t>Deloitte refers to one or more of Deloitte </a:t>
            </a:r>
            <a:r>
              <a:rPr lang="en-US" sz="900" dirty="0" err="1" smtClean="0">
                <a:solidFill>
                  <a:schemeClr val="tx2"/>
                </a:solidFill>
              </a:rPr>
              <a:t>Touche</a:t>
            </a:r>
            <a:r>
              <a:rPr lang="en-US" sz="900" dirty="0" smtClean="0">
                <a:solidFill>
                  <a:schemeClr val="tx2"/>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l/about for a more detailed description of DTTL and its member firms.</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Deloitte provides audit, consulting, financial advisory, risk management, tax and related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This communication contains general information only, and none of Deloitte </a:t>
            </a:r>
            <a:r>
              <a:rPr lang="en-US" sz="900" dirty="0" err="1" smtClean="0">
                <a:solidFill>
                  <a:schemeClr val="tx2"/>
                </a:solidFill>
              </a:rPr>
              <a:t>Touche</a:t>
            </a:r>
            <a:r>
              <a:rPr lang="en-US" sz="900" dirty="0" smtClean="0">
                <a:solidFill>
                  <a:schemeClr val="tx2"/>
                </a:solidFill>
              </a:rPr>
              <a:t> Tohmatsu Limited, its member firms, or their related entities (collectively, the “Deloitte network”) is, by means of this communication, rendering professional advice or services. No entity in the Deloitte network shall be responsible for any loss whatsoever sustained by any person who relies on this communication.</a:t>
            </a:r>
            <a:br>
              <a:rPr lang="en-US" sz="900" dirty="0" smtClean="0">
                <a:solidFill>
                  <a:schemeClr val="tx2"/>
                </a:solidFill>
              </a:rPr>
            </a:br>
            <a:r>
              <a:rPr lang="en-US" sz="900" dirty="0" smtClean="0">
                <a:solidFill>
                  <a:schemeClr val="tx2"/>
                </a:solidFill>
              </a:rPr>
              <a:t/>
            </a:r>
            <a:br>
              <a:rPr lang="en-US" sz="900" dirty="0" smtClean="0">
                <a:solidFill>
                  <a:schemeClr val="tx2"/>
                </a:solidFill>
              </a:rPr>
            </a:br>
            <a:r>
              <a:rPr lang="en-US" sz="900" dirty="0" smtClean="0">
                <a:solidFill>
                  <a:schemeClr val="tx2"/>
                </a:solidFill>
              </a:rPr>
              <a:t>© 2017 Deloitte Serbia</a:t>
            </a:r>
          </a:p>
        </p:txBody>
      </p:sp>
      <p:pic>
        <p:nvPicPr>
          <p:cNvPr id="4" name="Picture 3" descr="DEL_PRI_RGB.gif"/>
          <p:cNvPicPr>
            <a:picLocks noChangeAspect="1"/>
          </p:cNvPicPr>
          <p:nvPr userDrawn="1"/>
        </p:nvPicPr>
        <p:blipFill>
          <a:blip r:embed="rId2" cstate="print"/>
          <a:stretch>
            <a:fillRect/>
          </a:stretch>
        </p:blipFill>
        <p:spPr>
          <a:xfrm>
            <a:off x="479733" y="3501008"/>
            <a:ext cx="1727835" cy="323850"/>
          </a:xfrm>
          <a:prstGeom prst="rect">
            <a:avLst/>
          </a:prstGeom>
        </p:spPr>
      </p:pic>
    </p:spTree>
    <p:extLst>
      <p:ext uri="{BB962C8B-B14F-4D97-AF65-F5344CB8AC3E}">
        <p14:creationId xmlns:p14="http://schemas.microsoft.com/office/powerpoint/2010/main" val="30783163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42" Type="http://schemas.openxmlformats.org/officeDocument/2006/relationships/theme" Target="../theme/theme2.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 Id="rId46" Type="http://schemas.openxmlformats.org/officeDocument/2006/relationships/image" Target="../media/image3.emf"/><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slideLayout" Target="../slideLayouts/slideLayout51.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45" Type="http://schemas.openxmlformats.org/officeDocument/2006/relationships/oleObject" Target="../embeddings/oleObject3.bin"/><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4" Type="http://schemas.openxmlformats.org/officeDocument/2006/relationships/tags" Target="../tags/tag4.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43"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13"/>
            </p:custDataLst>
            <p:extLst>
              <p:ext uri="{D42A27DB-BD31-4B8C-83A1-F6EECF244321}">
                <p14:modId xmlns:p14="http://schemas.microsoft.com/office/powerpoint/2010/main" val="2922420613"/>
              </p:ext>
            </p:extLst>
          </p:nvPr>
        </p:nvGraphicFramePr>
        <p:xfrm>
          <a:off x="1958" y="1593"/>
          <a:ext cx="1953" cy="1587"/>
        </p:xfrm>
        <a:graphic>
          <a:graphicData uri="http://schemas.openxmlformats.org/presentationml/2006/ole">
            <mc:AlternateContent xmlns:mc="http://schemas.openxmlformats.org/markup-compatibility/2006">
              <mc:Choice xmlns:v="urn:schemas-microsoft-com:vml" Requires="v">
                <p:oleObj spid="_x0000_s1576" name="think-cell Slide" r:id="rId14" imgW="492" imgH="504" progId="TCLayout.ActiveDocument.1">
                  <p:embed/>
                </p:oleObj>
              </mc:Choice>
              <mc:Fallback>
                <p:oleObj name="think-cell Slide" r:id="rId14" imgW="492" imgH="504" progId="TCLayout.ActiveDocument.1">
                  <p:embed/>
                  <p:pic>
                    <p:nvPicPr>
                      <p:cNvPr id="0" name=""/>
                      <p:cNvPicPr/>
                      <p:nvPr/>
                    </p:nvPicPr>
                    <p:blipFill>
                      <a:blip r:embed="rId15"/>
                      <a:stretch>
                        <a:fillRect/>
                      </a:stretch>
                    </p:blipFill>
                    <p:spPr>
                      <a:xfrm>
                        <a:off x="1958" y="1593"/>
                        <a:ext cx="1953" cy="1587"/>
                      </a:xfrm>
                      <a:prstGeom prst="rect">
                        <a:avLst/>
                      </a:prstGeom>
                    </p:spPr>
                  </p:pic>
                </p:oleObj>
              </mc:Fallback>
            </mc:AlternateContent>
          </a:graphicData>
        </a:graphic>
      </p:graphicFrame>
      <p:sp>
        <p:nvSpPr>
          <p:cNvPr id="23" name="Title Placeholder 22"/>
          <p:cNvSpPr>
            <a:spLocks noGrp="1"/>
          </p:cNvSpPr>
          <p:nvPr>
            <p:ph type="title"/>
          </p:nvPr>
        </p:nvSpPr>
        <p:spPr>
          <a:xfrm>
            <a:off x="511911" y="336998"/>
            <a:ext cx="11168183" cy="307777"/>
          </a:xfrm>
          <a:prstGeom prst="rect">
            <a:avLst/>
          </a:prstGeom>
        </p:spPr>
        <p:txBody>
          <a:bodyPr vert="horz" lIns="0" tIns="0" rIns="0" bIns="0" rtlCol="0" anchor="ctr">
            <a:spAutoFit/>
          </a:bodyPr>
          <a:lstStyle/>
          <a:p>
            <a:r>
              <a:rPr lang="en-GB" dirty="0" smtClean="0"/>
              <a:t>Click here to enter </a:t>
            </a:r>
            <a:r>
              <a:rPr lang="en-GB" noProof="0" dirty="0" smtClean="0"/>
              <a:t>chapter title</a:t>
            </a:r>
            <a:endParaRPr lang="en-GB" dirty="0"/>
          </a:p>
        </p:txBody>
      </p:sp>
      <p:sp>
        <p:nvSpPr>
          <p:cNvPr id="24" name="Text Placeholder 23"/>
          <p:cNvSpPr>
            <a:spLocks noGrp="1"/>
          </p:cNvSpPr>
          <p:nvPr>
            <p:ph type="body" idx="1"/>
          </p:nvPr>
        </p:nvSpPr>
        <p:spPr>
          <a:xfrm>
            <a:off x="511911" y="1488559"/>
            <a:ext cx="11168183" cy="4820166"/>
          </a:xfrm>
          <a:prstGeom prst="rect">
            <a:avLst/>
          </a:prstGeom>
        </p:spPr>
        <p:txBody>
          <a:bodyPr vert="horz" lIns="0" tIns="0" rIns="0" bIns="0" rtlCol="0">
            <a:noAutofit/>
          </a:bodyPr>
          <a:lstStyle/>
          <a:p>
            <a:pPr lvl="0"/>
            <a:r>
              <a:rPr lang="en-GB" dirty="0" smtClean="0"/>
              <a:t>Click here to enter text</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a:p>
            <a:pPr lvl="5"/>
            <a:r>
              <a:rPr lang="en-GB" dirty="0" smtClean="0"/>
              <a:t>Six level</a:t>
            </a:r>
          </a:p>
          <a:p>
            <a:pPr lvl="6"/>
            <a:r>
              <a:rPr lang="en-GB" noProof="0" dirty="0" smtClean="0"/>
              <a:t>Seventh</a:t>
            </a:r>
            <a:r>
              <a:rPr lang="en-GB" dirty="0" smtClean="0"/>
              <a:t> level</a:t>
            </a:r>
          </a:p>
          <a:p>
            <a:pPr lvl="7"/>
            <a:r>
              <a:rPr lang="en-GB" dirty="0" smtClean="0"/>
              <a:t>Eight level</a:t>
            </a:r>
          </a:p>
          <a:p>
            <a:pPr lvl="8"/>
            <a:r>
              <a:rPr lang="en-GB" dirty="0" smtClean="0"/>
              <a:t>Ninth level</a:t>
            </a:r>
            <a:endParaRPr lang="en-GB" dirty="0"/>
          </a:p>
        </p:txBody>
      </p:sp>
      <p:sp>
        <p:nvSpPr>
          <p:cNvPr id="27" name="Slide Number Placeholder 26"/>
          <p:cNvSpPr>
            <a:spLocks noGrp="1"/>
          </p:cNvSpPr>
          <p:nvPr>
            <p:ph type="sldNum" sz="quarter" idx="4"/>
          </p:nvPr>
        </p:nvSpPr>
        <p:spPr>
          <a:xfrm>
            <a:off x="537433" y="6459467"/>
            <a:ext cx="110608" cy="107722"/>
          </a:xfrm>
          <a:prstGeom prst="rect">
            <a:avLst/>
          </a:prstGeom>
        </p:spPr>
        <p:txBody>
          <a:bodyPr vert="horz" wrap="none" lIns="0" tIns="0" rIns="0" bIns="0" rtlCol="0" anchor="ctr">
            <a:spAutoFit/>
          </a:bodyPr>
          <a:lstStyle>
            <a:lvl1pPr algn="r">
              <a:defRPr sz="700">
                <a:solidFill>
                  <a:schemeClr val="tx2"/>
                </a:solidFill>
              </a:defRPr>
            </a:lvl1pPr>
          </a:lstStyle>
          <a:p>
            <a:fld id="{E7E69083-84D8-4E59-86E6-37E14A15C756}" type="slidenum">
              <a:rPr lang="en-GB" smtClean="0"/>
              <a:pPr/>
              <a:t>‹#›</a:t>
            </a:fld>
            <a:endParaRPr lang="en-GB" dirty="0"/>
          </a:p>
        </p:txBody>
      </p:sp>
      <p:sp>
        <p:nvSpPr>
          <p:cNvPr id="3" name="Footer Placeholder 2"/>
          <p:cNvSpPr>
            <a:spLocks noGrp="1"/>
          </p:cNvSpPr>
          <p:nvPr>
            <p:ph type="ftr" sz="quarter" idx="3"/>
          </p:nvPr>
        </p:nvSpPr>
        <p:spPr>
          <a:xfrm>
            <a:off x="1265922" y="6459606"/>
            <a:ext cx="65" cy="107722"/>
          </a:xfrm>
          <a:prstGeom prst="rect">
            <a:avLst/>
          </a:prstGeom>
        </p:spPr>
        <p:txBody>
          <a:bodyPr vert="horz" wrap="none" lIns="0" tIns="0" rIns="0" bIns="0" rtlCol="0" anchor="ctr">
            <a:spAutoFit/>
          </a:bodyPr>
          <a:lstStyle>
            <a:lvl1pPr algn="l">
              <a:defRPr sz="700">
                <a:solidFill>
                  <a:schemeClr val="tx2"/>
                </a:solidFill>
              </a:defRPr>
            </a:lvl1pPr>
          </a:lstStyle>
          <a:p>
            <a:endParaRPr lang="en-GB" dirty="0"/>
          </a:p>
        </p:txBody>
      </p:sp>
    </p:spTree>
    <p:extLst>
      <p:ext uri="{BB962C8B-B14F-4D97-AF65-F5344CB8AC3E}">
        <p14:creationId xmlns:p14="http://schemas.microsoft.com/office/powerpoint/2010/main" val="1094338210"/>
      </p:ext>
    </p:extLst>
  </p:cSld>
  <p:clrMap bg1="lt1" tx1="dk1" bg2="lt2" tx2="dk2" accent1="accent1" accent2="accent2" accent3="accent3" accent4="accent4" accent5="accent5" accent6="accent6" hlink="hlink" folHlink="folHlink"/>
  <p:sldLayoutIdLst>
    <p:sldLayoutId id="2147483649" r:id="rId1"/>
    <p:sldLayoutId id="2147483686" r:id="rId2"/>
    <p:sldLayoutId id="2147483687" r:id="rId3"/>
    <p:sldLayoutId id="2147483684" r:id="rId4"/>
    <p:sldLayoutId id="2147483669" r:id="rId5"/>
    <p:sldLayoutId id="2147483668" r:id="rId6"/>
    <p:sldLayoutId id="2147483665" r:id="rId7"/>
    <p:sldLayoutId id="2147483666" r:id="rId8"/>
    <p:sldLayoutId id="2147483655" r:id="rId9"/>
    <p:sldLayoutId id="2147483688" r:id="rId10"/>
  </p:sldLayoutIdLst>
  <p:hf hdr="0" dt="0"/>
  <p:txStyles>
    <p:titleStyle>
      <a:lvl1pPr algn="l" defTabSz="1005108" rtl="0" eaLnBrk="1" latinLnBrk="0" hangingPunct="1">
        <a:spcBef>
          <a:spcPct val="0"/>
        </a:spcBef>
        <a:buNone/>
        <a:defRPr lang="de-DE" sz="2000" kern="1200" baseline="0" dirty="0">
          <a:solidFill>
            <a:schemeClr val="accent1"/>
          </a:solidFill>
          <a:latin typeface="+mj-lt"/>
          <a:ea typeface="+mj-ea"/>
          <a:cs typeface="+mj-cs"/>
        </a:defRPr>
      </a:lvl1pPr>
    </p:titleStyle>
    <p:bodyStyle>
      <a:lvl1pPr marL="0" indent="0" algn="l" defTabSz="914423" rtl="0" eaLnBrk="1" latinLnBrk="0" hangingPunct="1">
        <a:spcBef>
          <a:spcPts val="600"/>
        </a:spcBef>
        <a:buClr>
          <a:schemeClr val="tx2"/>
        </a:buClr>
        <a:buFont typeface="Arial" panose="020B0604020202020204" pitchFamily="34" charset="0"/>
        <a:buNone/>
        <a:defRPr sz="1400" kern="1200">
          <a:solidFill>
            <a:schemeClr val="tx2"/>
          </a:solidFill>
          <a:latin typeface="+mn-lt"/>
          <a:ea typeface="+mn-ea"/>
          <a:cs typeface="+mn-cs"/>
        </a:defRPr>
      </a:lvl1pPr>
      <a:lvl2pPr marL="0" indent="0" algn="l" defTabSz="914423" rtl="0" eaLnBrk="1" latinLnBrk="0" hangingPunct="1">
        <a:spcBef>
          <a:spcPts val="600"/>
        </a:spcBef>
        <a:buClr>
          <a:schemeClr val="tx2"/>
        </a:buClr>
        <a:buFont typeface="Arial" panose="020B0604020202020204" pitchFamily="34" charset="0"/>
        <a:buNone/>
        <a:defRPr sz="1400" b="1" kern="1200">
          <a:solidFill>
            <a:schemeClr val="accent3"/>
          </a:solidFill>
          <a:latin typeface="+mn-lt"/>
          <a:ea typeface="+mn-ea"/>
          <a:cs typeface="+mn-cs"/>
        </a:defRPr>
      </a:lvl2pPr>
      <a:lvl3pPr marL="180005" indent="-180005" algn="l" defTabSz="914423" rtl="0" eaLnBrk="1" latinLnBrk="0" hangingPunct="1">
        <a:spcBef>
          <a:spcPts val="600"/>
        </a:spcBef>
        <a:buClrTx/>
        <a:buFont typeface="Arial" panose="020B0604020202020204" pitchFamily="34" charset="0"/>
        <a:buChar char="•"/>
        <a:defRPr sz="1400" kern="1200" baseline="0">
          <a:solidFill>
            <a:schemeClr val="tx2"/>
          </a:solidFill>
          <a:latin typeface="+mn-lt"/>
          <a:ea typeface="+mn-ea"/>
          <a:cs typeface="+mn-cs"/>
        </a:defRPr>
      </a:lvl3pPr>
      <a:lvl4pPr marL="360009" indent="-180005" algn="l" defTabSz="914423" rtl="0" eaLnBrk="1" latinLnBrk="0" hangingPunct="1">
        <a:spcBef>
          <a:spcPts val="600"/>
        </a:spcBef>
        <a:buClrTx/>
        <a:buFont typeface="Arial" panose="020B0604020202020204" pitchFamily="34" charset="0"/>
        <a:buChar char="−"/>
        <a:defRPr lang="de-DE" sz="1200" kern="1200" dirty="0" smtClean="0">
          <a:solidFill>
            <a:schemeClr val="tx2"/>
          </a:solidFill>
          <a:latin typeface="+mn-lt"/>
          <a:ea typeface="+mn-ea"/>
          <a:cs typeface="+mn-cs"/>
        </a:defRPr>
      </a:lvl4pPr>
      <a:lvl5pPr marL="540014" indent="-180005" algn="l" defTabSz="914423" rtl="0" eaLnBrk="1" latinLnBrk="0" hangingPunct="1">
        <a:spcBef>
          <a:spcPts val="600"/>
        </a:spcBef>
        <a:buClrTx/>
        <a:buFont typeface="Arial" panose="020B0604020202020204" pitchFamily="34" charset="0"/>
        <a:buChar char="•"/>
        <a:defRPr sz="1000" kern="1200">
          <a:solidFill>
            <a:schemeClr val="tx2"/>
          </a:solidFill>
          <a:latin typeface="+mn-lt"/>
          <a:ea typeface="+mn-ea"/>
          <a:cs typeface="+mn-cs"/>
        </a:defRPr>
      </a:lvl5pPr>
      <a:lvl6pPr marL="720018" indent="-180005" algn="l" defTabSz="914423" rtl="0" eaLnBrk="1" latinLnBrk="0" hangingPunct="1">
        <a:spcBef>
          <a:spcPts val="600"/>
        </a:spcBef>
        <a:buClrTx/>
        <a:buFont typeface="Arial" panose="020B0604020202020204" pitchFamily="34" charset="0"/>
        <a:buChar char="−"/>
        <a:defRPr sz="1000" kern="1200">
          <a:solidFill>
            <a:schemeClr val="tx1"/>
          </a:solidFill>
          <a:latin typeface="+mn-lt"/>
          <a:ea typeface="+mn-ea"/>
          <a:cs typeface="+mn-cs"/>
        </a:defRPr>
      </a:lvl6pPr>
      <a:lvl7pPr marL="900023" indent="-179393" algn="l" defTabSz="914423" rtl="0" eaLnBrk="1" latinLnBrk="0" hangingPunct="1">
        <a:spcBef>
          <a:spcPts val="600"/>
        </a:spcBef>
        <a:buClrTx/>
        <a:buFont typeface="Arial" panose="020B0604020202020204" pitchFamily="34" charset="0"/>
        <a:buChar char="•"/>
        <a:defRPr sz="1000" kern="1200">
          <a:solidFill>
            <a:schemeClr val="tx1"/>
          </a:solidFill>
          <a:latin typeface="+mn-lt"/>
          <a:ea typeface="+mn-ea"/>
          <a:cs typeface="+mn-cs"/>
        </a:defRPr>
      </a:lvl7pPr>
      <a:lvl8pPr marL="1080027" indent="-179393" algn="l" defTabSz="914423" rtl="0" eaLnBrk="1" latinLnBrk="0" hangingPunct="1">
        <a:spcBef>
          <a:spcPts val="600"/>
        </a:spcBef>
        <a:buClrTx/>
        <a:buFont typeface="Arial" panose="020B0604020202020204" pitchFamily="34" charset="0"/>
        <a:buChar char="−"/>
        <a:defRPr sz="1000" kern="1200">
          <a:solidFill>
            <a:schemeClr val="tx1"/>
          </a:solidFill>
          <a:latin typeface="+mn-lt"/>
          <a:ea typeface="+mn-ea"/>
          <a:cs typeface="+mn-cs"/>
        </a:defRPr>
      </a:lvl8pPr>
      <a:lvl9pPr marL="1260032" indent="-180005" algn="l" defTabSz="914423" rtl="0" eaLnBrk="1" latinLnBrk="0" hangingPunct="1">
        <a:spcBef>
          <a:spcPts val="600"/>
        </a:spcBef>
        <a:buClrTx/>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3840" userDrawn="1">
          <p15:clr>
            <a:srgbClr val="F26B43"/>
          </p15:clr>
        </p15:guide>
        <p15:guide id="6" orient="horz" pos="935" userDrawn="1">
          <p15:clr>
            <a:srgbClr val="F26B43"/>
          </p15:clr>
        </p15:guide>
        <p15:guide id="7" pos="7358" userDrawn="1">
          <p15:clr>
            <a:srgbClr val="F26B43"/>
          </p15:clr>
        </p15:guide>
        <p15:guide id="8" pos="322" userDrawn="1">
          <p15:clr>
            <a:srgbClr val="F26B43"/>
          </p15:clr>
        </p15:guide>
        <p15:guide id="9" orient="horz" pos="3974" userDrawn="1">
          <p15:clr>
            <a:srgbClr val="F26B43"/>
          </p15:clr>
        </p15:guide>
        <p15:guide id="10" orient="horz" pos="414" userDrawn="1">
          <p15:clr>
            <a:srgbClr val="F26B43"/>
          </p15:clr>
        </p15:guide>
        <p15:guide id="11" orient="horz" pos="845" userDrawn="1">
          <p15:clr>
            <a:srgbClr val="F26B43"/>
          </p15:clr>
        </p15:guide>
        <p15:guide id="12" orient="horz" pos="45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13"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TextBox 14"/>
          <p:cNvSpPr txBox="1"/>
          <p:nvPr userDrawn="1"/>
        </p:nvSpPr>
        <p:spPr>
          <a:xfrm>
            <a:off x="6335184"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Presentation title</a:t>
            </a:r>
            <a:br>
              <a:rPr lang="en-US" sz="650" noProof="0" dirty="0">
                <a:solidFill>
                  <a:schemeClr val="tx1"/>
                </a:solidFill>
              </a:rPr>
            </a:br>
            <a:r>
              <a:rPr lang="en-US" sz="650" noProof="0" dirty="0">
                <a:solidFill>
                  <a:schemeClr val="tx1"/>
                </a:solidFill>
              </a:rPr>
              <a:t>[To edit, click View &gt; Slide Master &gt; Slide Master]</a:t>
            </a:r>
          </a:p>
        </p:txBody>
      </p:sp>
      <p:sp>
        <p:nvSpPr>
          <p:cNvPr id="18" name="TextBox 17"/>
          <p:cNvSpPr txBox="1"/>
          <p:nvPr userDrawn="1"/>
        </p:nvSpPr>
        <p:spPr>
          <a:xfrm>
            <a:off x="501649" y="6477000"/>
            <a:ext cx="5355168"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tx1"/>
                </a:solidFill>
              </a:rPr>
              <a:t>Member firms and DTTL: Insert appropriate copyright</a:t>
            </a:r>
            <a:br>
              <a:rPr lang="en-US" sz="650" noProof="0" dirty="0">
                <a:solidFill>
                  <a:schemeClr val="tx1"/>
                </a:solidFill>
              </a:rPr>
            </a:br>
            <a:r>
              <a:rPr lang="en-US" sz="650" noProof="0" dirty="0">
                <a:solidFill>
                  <a:schemeClr val="tx1"/>
                </a:solidFill>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90996060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 id="2147483730" r:id="rId40"/>
    <p:sldLayoutId id="2147483731"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2.deloitte.com/rs/en/pages/about-deloitte/articles/about-deloitte.html" TargetMode="External"/><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6">
            <a:extLst>
              <a:ext uri="{28A0092B-C50C-407E-A947-70E740481C1C}">
                <a14:useLocalDpi xmlns:a14="http://schemas.microsoft.com/office/drawing/2010/main" val="0"/>
              </a:ext>
            </a:extLst>
          </a:blip>
          <a:srcRect b="22123"/>
          <a:stretch/>
        </p:blipFill>
        <p:spPr>
          <a:xfrm>
            <a:off x="0" y="3178"/>
            <a:ext cx="12192000" cy="6898511"/>
          </a:xfrm>
          <a:prstGeom prst="rect">
            <a:avLst/>
          </a:prstGeom>
        </p:spPr>
      </p:pic>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2978001094"/>
              </p:ext>
            </p:extLst>
          </p:nvPr>
        </p:nvGraphicFramePr>
        <p:xfrm>
          <a:off x="1144591" y="1591"/>
          <a:ext cx="1587" cy="1587"/>
        </p:xfrm>
        <a:graphic>
          <a:graphicData uri="http://schemas.openxmlformats.org/presentationml/2006/ole">
            <mc:AlternateContent xmlns:mc="http://schemas.openxmlformats.org/markup-compatibility/2006">
              <mc:Choice xmlns:v="urn:schemas-microsoft-com:vml" Requires="v">
                <p:oleObj spid="_x0000_s3622" name="think-cell Slide" r:id="rId7" imgW="492" imgH="504" progId="TCLayout.ActiveDocument.1">
                  <p:embed/>
                </p:oleObj>
              </mc:Choice>
              <mc:Fallback>
                <p:oleObj name="think-cell Slide" r:id="rId7" imgW="492" imgH="504" progId="TCLayout.ActiveDocument.1">
                  <p:embed/>
                  <p:pic>
                    <p:nvPicPr>
                      <p:cNvPr id="0" name=""/>
                      <p:cNvPicPr/>
                      <p:nvPr/>
                    </p:nvPicPr>
                    <p:blipFill>
                      <a:blip r:embed="rId8"/>
                      <a:stretch>
                        <a:fillRect/>
                      </a:stretch>
                    </p:blipFill>
                    <p:spPr>
                      <a:xfrm>
                        <a:off x="1144591" y="1591"/>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1143000" y="0"/>
            <a:ext cx="158750" cy="158750"/>
          </a:xfrm>
          <a:prstGeom prst="rect">
            <a:avLst/>
          </a:prstGeom>
          <a:solidFill>
            <a:scrgbClr r="0" g="0" b="0"/>
          </a:solid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57634">
              <a:spcBef>
                <a:spcPct val="0"/>
              </a:spcBef>
              <a:spcAft>
                <a:spcPct val="0"/>
              </a:spcAft>
            </a:pPr>
            <a:endParaRPr lang="nl-NL" sz="1200" dirty="0">
              <a:solidFill>
                <a:schemeClr val="tx2"/>
              </a:solidFill>
              <a:latin typeface="Arial" panose="020B0604020202020204" pitchFamily="34" charset="0"/>
              <a:sym typeface="Arial" panose="020B0604020202020204" pitchFamily="34" charset="0"/>
            </a:endParaRPr>
          </a:p>
        </p:txBody>
      </p:sp>
      <p:sp>
        <p:nvSpPr>
          <p:cNvPr id="12" name="Rechthoek 8"/>
          <p:cNvSpPr/>
          <p:nvPr/>
        </p:nvSpPr>
        <p:spPr>
          <a:xfrm>
            <a:off x="0" y="728663"/>
            <a:ext cx="5590571" cy="25723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6" name="Tekstvak 11"/>
          <p:cNvSpPr txBox="1"/>
          <p:nvPr/>
        </p:nvSpPr>
        <p:spPr>
          <a:xfrm>
            <a:off x="242334" y="1693273"/>
            <a:ext cx="3993327" cy="907941"/>
          </a:xfrm>
          <a:prstGeom prst="rect">
            <a:avLst/>
          </a:prstGeom>
          <a:noFill/>
        </p:spPr>
        <p:txBody>
          <a:bodyPr wrap="square" rtlCol="0">
            <a:spAutoFit/>
          </a:bodyPr>
          <a:lstStyle/>
          <a:p>
            <a:r>
              <a:rPr lang="en-US" sz="2500" dirty="0" smtClean="0">
                <a:latin typeface="Verdana" panose="020B0604030504040204" pitchFamily="34" charset="0"/>
                <a:ea typeface="Verdana" panose="020B0604030504040204" pitchFamily="34" charset="0"/>
                <a:cs typeface="Verdana" panose="020B0604030504040204" pitchFamily="34" charset="0"/>
              </a:rPr>
              <a:t>Smart Cities</a:t>
            </a:r>
          </a:p>
          <a:p>
            <a:endParaRPr lang="en-US" sz="1400" dirty="0">
              <a:solidFill>
                <a:srgbClr val="92CA00"/>
              </a:solidFill>
              <a:latin typeface="Verdana" panose="020B0604030504040204" pitchFamily="34" charset="0"/>
              <a:ea typeface="Verdana" panose="020B0604030504040204" pitchFamily="34" charset="0"/>
              <a:cs typeface="Verdana" panose="020B0604030504040204" pitchFamily="34" charset="0"/>
            </a:endParaRPr>
          </a:p>
          <a:p>
            <a:endParaRPr lang="en-US" sz="1400" dirty="0">
              <a:solidFill>
                <a:srgbClr val="92CA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kstvak 12"/>
          <p:cNvSpPr txBox="1"/>
          <p:nvPr/>
        </p:nvSpPr>
        <p:spPr>
          <a:xfrm>
            <a:off x="270621" y="2497331"/>
            <a:ext cx="3651249" cy="615553"/>
          </a:xfrm>
          <a:prstGeom prst="rect">
            <a:avLst/>
          </a:prstGeom>
          <a:noFill/>
        </p:spPr>
        <p:txBody>
          <a:bodyPr wrap="square" rtlCol="0">
            <a:spAutoFit/>
          </a:bodyPr>
          <a:lstStyle/>
          <a:p>
            <a:r>
              <a:rPr lang="nl-NL" sz="1200" b="1" dirty="0" smtClean="0">
                <a:latin typeface="Verdana" panose="020B0604030504040204" pitchFamily="34" charset="0"/>
                <a:ea typeface="Verdana" panose="020B0604030504040204" pitchFamily="34" charset="0"/>
                <a:cs typeface="Verdana" panose="020B0604030504040204" pitchFamily="34" charset="0"/>
              </a:rPr>
              <a:t>Nada Su</a:t>
            </a:r>
            <a:r>
              <a:rPr lang="sr-Latn-CS" sz="1200" b="1" dirty="0" err="1" smtClean="0">
                <a:latin typeface="Verdana" panose="020B0604030504040204" pitchFamily="34" charset="0"/>
                <a:ea typeface="Verdana" panose="020B0604030504040204" pitchFamily="34" charset="0"/>
                <a:cs typeface="Verdana" panose="020B0604030504040204" pitchFamily="34" charset="0"/>
              </a:rPr>
              <a:t>đić</a:t>
            </a:r>
            <a:r>
              <a:rPr lang="sr-Latn-CS" sz="1200" b="1" dirty="0" smtClean="0">
                <a:latin typeface="Verdana" panose="020B0604030504040204" pitchFamily="34" charset="0"/>
                <a:ea typeface="Verdana" panose="020B0604030504040204" pitchFamily="34" charset="0"/>
                <a:cs typeface="Verdana" panose="020B0604030504040204" pitchFamily="34" charset="0"/>
              </a:rPr>
              <a:t>, Partner</a:t>
            </a:r>
          </a:p>
          <a:p>
            <a:endParaRPr lang="sr-Latn-CS" sz="1200" b="1" dirty="0">
              <a:latin typeface="Verdana" panose="020B0604030504040204" pitchFamily="34" charset="0"/>
              <a:ea typeface="Verdana" panose="020B0604030504040204" pitchFamily="34" charset="0"/>
              <a:cs typeface="Verdana" panose="020B0604030504040204" pitchFamily="34" charset="0"/>
            </a:endParaRPr>
          </a:p>
          <a:p>
            <a:r>
              <a:rPr lang="nl-NL" sz="1000" dirty="0" smtClean="0">
                <a:latin typeface="Verdana" panose="020B0604030504040204" pitchFamily="34" charset="0"/>
                <a:ea typeface="Verdana" panose="020B0604030504040204" pitchFamily="34" charset="0"/>
                <a:cs typeface="Verdana" panose="020B0604030504040204" pitchFamily="34" charset="0"/>
              </a:rPr>
              <a:t>November 2017</a:t>
            </a:r>
            <a:endParaRPr lang="nl-NL" sz="1000" dirty="0">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9"/>
          <a:stretch>
            <a:fillRect/>
          </a:stretch>
        </p:blipFill>
        <p:spPr>
          <a:xfrm>
            <a:off x="335339" y="932851"/>
            <a:ext cx="1621677" cy="310923"/>
          </a:xfrm>
          <a:prstGeom prst="rect">
            <a:avLst/>
          </a:prstGeom>
        </p:spPr>
      </p:pic>
    </p:spTree>
    <p:extLst>
      <p:ext uri="{BB962C8B-B14F-4D97-AF65-F5344CB8AC3E}">
        <p14:creationId xmlns:p14="http://schemas.microsoft.com/office/powerpoint/2010/main" val="40771023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How can Deloitte assist?</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Footer Placeholder 4"/>
          <p:cNvSpPr>
            <a:spLocks noGrp="1"/>
          </p:cNvSpPr>
          <p:nvPr>
            <p:ph type="ftr" sz="quarter" idx="16"/>
          </p:nvPr>
        </p:nvSpPr>
        <p:spPr>
          <a:xfrm>
            <a:off x="791358" y="6641002"/>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8" name="Slide Number Placeholder 5"/>
          <p:cNvSpPr>
            <a:spLocks noGrp="1"/>
          </p:cNvSpPr>
          <p:nvPr>
            <p:ph type="sldNum" sz="quarter" idx="17"/>
          </p:nvPr>
        </p:nvSpPr>
        <p:spPr>
          <a:xfrm>
            <a:off x="511175" y="6594835"/>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9</a:t>
            </a:fld>
            <a:endParaRPr lang="en-US" sz="1400" b="1" dirty="0">
              <a:solidFill>
                <a:schemeClr val="accent3"/>
              </a:solidFill>
              <a:latin typeface="Calibri" panose="020F0502020204030204" pitchFamily="34" charset="0"/>
            </a:endParaRPr>
          </a:p>
        </p:txBody>
      </p:sp>
      <p:sp>
        <p:nvSpPr>
          <p:cNvPr id="94" name="Text Placeholder 1"/>
          <p:cNvSpPr>
            <a:spLocks noGrp="1"/>
          </p:cNvSpPr>
          <p:nvPr>
            <p:ph type="body" idx="1"/>
          </p:nvPr>
        </p:nvSpPr>
        <p:spPr>
          <a:xfrm>
            <a:off x="511911" y="1119496"/>
            <a:ext cx="10586017" cy="5194677"/>
          </a:xfrm>
        </p:spPr>
        <p:txBody>
          <a:bodyPr/>
          <a:lstStyle/>
          <a:p>
            <a:pPr marL="285750" indent="-285750">
              <a:buFont typeface="Arial" panose="020B0604020202020204" pitchFamily="34" charset="0"/>
              <a:buChar char="•"/>
            </a:pPr>
            <a:r>
              <a:rPr lang="en-CA"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Help </a:t>
            </a:r>
            <a:r>
              <a:rPr lang="en-CA" sz="1800" dirty="0">
                <a:solidFill>
                  <a:schemeClr val="tx1"/>
                </a:solidFill>
                <a:latin typeface="Verdana" panose="020B0604030504040204" pitchFamily="34" charset="0"/>
                <a:ea typeface="Verdana" panose="020B0604030504040204" pitchFamily="34" charset="0"/>
                <a:cs typeface="Verdana" panose="020B0604030504040204" pitchFamily="34" charset="0"/>
              </a:rPr>
              <a:t>cities with the development of appropriate </a:t>
            </a:r>
            <a:r>
              <a:rPr lang="en-CA" sz="1800" b="1" dirty="0">
                <a:solidFill>
                  <a:schemeClr val="tx1"/>
                </a:solidFill>
                <a:latin typeface="Verdana" panose="020B0604030504040204" pitchFamily="34" charset="0"/>
                <a:ea typeface="Verdana" panose="020B0604030504040204" pitchFamily="34" charset="0"/>
                <a:cs typeface="Verdana" panose="020B0604030504040204" pitchFamily="34" charset="0"/>
              </a:rPr>
              <a:t>smart city strategies </a:t>
            </a:r>
            <a:r>
              <a:rPr lang="en-CA"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that </a:t>
            </a:r>
            <a:r>
              <a:rPr lang="en-CA" sz="1800" dirty="0">
                <a:solidFill>
                  <a:schemeClr val="tx1"/>
                </a:solidFill>
                <a:latin typeface="Verdana" panose="020B0604030504040204" pitchFamily="34" charset="0"/>
                <a:ea typeface="Verdana" panose="020B0604030504040204" pitchFamily="34" charset="0"/>
                <a:cs typeface="Verdana" panose="020B0604030504040204" pitchFamily="34" charset="0"/>
              </a:rPr>
              <a:t>identifies relevant smart city projects and sequences the </a:t>
            </a:r>
            <a:r>
              <a:rPr lang="en-CA"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projects</a:t>
            </a:r>
          </a:p>
          <a:p>
            <a:pPr marL="285750" indent="-285750">
              <a:buFont typeface="Arial" panose="020B0604020202020204" pitchFamily="34" charset="0"/>
              <a:buChar char="•"/>
            </a:pPr>
            <a:endParaRPr lang="en-CA"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ssist cities in adopting </a:t>
            </a:r>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a user/citizen centric approach</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working in a structured way to place citizens experience in the center of each smart city project</a:t>
            </a:r>
          </a:p>
          <a:p>
            <a:pPr marL="285750" indent="-285750">
              <a:buFont typeface="Arial" panose="020B0604020202020204" pitchFamily="34" charset="0"/>
              <a:buChar char="•"/>
            </a:pP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Help cities in developing </a:t>
            </a:r>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clear roadmap and step-by-step approach</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p>
          <a:p>
            <a:pPr marL="285750" indent="-285750">
              <a:buFont typeface="Arial" panose="020B0604020202020204" pitchFamily="34" charset="0"/>
              <a:buChar char="•"/>
            </a:pP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Help cities develop techniques and approaches for </a:t>
            </a:r>
            <a:r>
              <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rPr>
              <a:t>managing risk to privacy and </a:t>
            </a:r>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cyber-security</a:t>
            </a:r>
          </a:p>
          <a:p>
            <a:pPr marL="285750" indent="-285750">
              <a:buFont typeface="Arial" panose="020B0604020202020204" pitchFamily="34" charset="0"/>
              <a:buChar char="•"/>
            </a:pP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Provide advisory services related to financing, e.g. </a:t>
            </a:r>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public private partnership</a:t>
            </a:r>
          </a:p>
          <a:p>
            <a:pPr marL="285750" indent="-285750">
              <a:buFont typeface="Arial" panose="020B0604020202020204" pitchFamily="34" charset="0"/>
              <a:buChar char="•"/>
            </a:pP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ssist cities in </a:t>
            </a:r>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identifying opportunities to lower operating cost and increase revenues </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through new revenue streams</a:t>
            </a:r>
          </a:p>
          <a:p>
            <a:pPr marL="285750" indent="-285750">
              <a:buFont typeface="Arial" panose="020B0604020202020204" pitchFamily="34" charset="0"/>
              <a:buChar char="•"/>
            </a:pPr>
            <a:endPar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r>
              <a:rPr lang="en-US" sz="1800" dirty="0">
                <a:solidFill>
                  <a:schemeClr val="tx1"/>
                </a:solidFill>
                <a:latin typeface="Verdana" panose="020B0604030504040204" pitchFamily="34" charset="0"/>
                <a:ea typeface="Verdana" panose="020B0604030504040204" pitchFamily="34" charset="0"/>
                <a:cs typeface="Verdana" panose="020B0604030504040204" pitchFamily="34" charset="0"/>
              </a:rPr>
              <a:t>e</a:t>
            </a:r>
            <a:r>
              <a:rPr lang="en-US" sz="18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tc.</a:t>
            </a:r>
          </a:p>
          <a:p>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pP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sz="16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endParaRPr lang="en-US" sz="1600" dirty="0">
              <a:solidFill>
                <a:schemeClr val="tx1"/>
              </a:solidFill>
            </a:endParaRPr>
          </a:p>
          <a:p>
            <a:r>
              <a:rPr lang="en-US" sz="1600" dirty="0">
                <a:solidFill>
                  <a:schemeClr val="tx1"/>
                </a:solidFill>
              </a:rPr>
              <a:t> </a:t>
            </a:r>
          </a:p>
        </p:txBody>
      </p:sp>
    </p:spTree>
    <p:extLst>
      <p:ext uri="{BB962C8B-B14F-4D97-AF65-F5344CB8AC3E}">
        <p14:creationId xmlns:p14="http://schemas.microsoft.com/office/powerpoint/2010/main" val="5775842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a:bodyPr>
          <a:lstStyle/>
          <a:p>
            <a:r>
              <a:rPr lang="en-US" dirty="0"/>
              <a:t>Deloitte refers to one or more of Deloitte </a:t>
            </a:r>
            <a:r>
              <a:rPr lang="en-US" dirty="0" err="1"/>
              <a:t>Touche</a:t>
            </a:r>
            <a:r>
              <a:rPr lang="en-US"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u="sng" dirty="0">
                <a:hlinkClick r:id="rId3"/>
              </a:rPr>
              <a:t>www2.deloitte.com/rs/en/about-us</a:t>
            </a:r>
            <a:r>
              <a:rPr lang="en-US" dirty="0"/>
              <a:t> to learn more about our global network of member firms.</a:t>
            </a:r>
          </a:p>
          <a:p>
            <a:r>
              <a:rPr lang="en-US" i="1" dirty="0"/>
              <a:t/>
            </a:r>
            <a:br>
              <a:rPr lang="en-US" i="1" dirty="0"/>
            </a:br>
            <a:r>
              <a:rPr lang="sr-Cyrl-CS" dirty="0"/>
              <a:t>© 201</a:t>
            </a:r>
            <a:r>
              <a:rPr lang="en-US" dirty="0"/>
              <a:t>7</a:t>
            </a:r>
            <a:r>
              <a:rPr lang="sr-Cyrl-CS" dirty="0"/>
              <a:t> Deloitte </a:t>
            </a:r>
            <a:r>
              <a:rPr lang="en-US" dirty="0"/>
              <a:t>Serbia</a:t>
            </a:r>
          </a:p>
          <a:p>
            <a:r>
              <a:rPr lang="sr-Cyrl-CS" dirty="0"/>
              <a:t> </a:t>
            </a:r>
            <a:endParaRPr lang="en-US" noProof="0" dirty="0"/>
          </a:p>
        </p:txBody>
      </p:sp>
    </p:spTree>
    <p:extLst>
      <p:ext uri="{BB962C8B-B14F-4D97-AF65-F5344CB8AC3E}">
        <p14:creationId xmlns:p14="http://schemas.microsoft.com/office/powerpoint/2010/main" val="369239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r="32776" b="41378"/>
          <a:stretch/>
        </p:blipFill>
        <p:spPr>
          <a:xfrm>
            <a:off x="-60960" y="0"/>
            <a:ext cx="12252960" cy="6949440"/>
          </a:xfrm>
          <a:prstGeom prst="rect">
            <a:avLst/>
          </a:prstGeom>
        </p:spPr>
      </p:pic>
      <p:sp>
        <p:nvSpPr>
          <p:cNvPr id="10" name="Rectangle 9"/>
          <p:cNvSpPr/>
          <p:nvPr/>
        </p:nvSpPr>
        <p:spPr>
          <a:xfrm>
            <a:off x="511175" y="347493"/>
            <a:ext cx="11387600" cy="1292662"/>
          </a:xfrm>
          <a:prstGeom prst="rect">
            <a:avLst/>
          </a:prstGeom>
        </p:spPr>
        <p:txBody>
          <a:bodyPr wrap="square" lIns="0" tIns="0" rIns="0" bIns="0">
            <a:spAutoFit/>
          </a:bodyPr>
          <a:lstStyle/>
          <a:p>
            <a:pPr>
              <a:spcAft>
                <a:spcPts val="1200"/>
              </a:spcAft>
            </a:pPr>
            <a:r>
              <a:rPr lang="en-US" sz="2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What do we mean with ‘smart cities’?</a:t>
            </a:r>
          </a:p>
          <a:p>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A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city is smart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when investments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in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a:t>
            </a:r>
            <a:r>
              <a:rPr lang="en-US" dirty="0" err="1"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i</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 human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and social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capital, (ii) traditional infrastructure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and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iii) disruptive technologies fuel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sustainable economic growth and a high quality of life,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with </a:t>
            </a:r>
            <a:r>
              <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a wise management of natural </a:t>
            </a:r>
            <a:r>
              <a:rPr lang="en-US" dirty="0" smtClean="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rPr>
              <a:t>resources.</a:t>
            </a:r>
            <a:endParaRPr lang="en-US" dirty="0">
              <a:solidFill>
                <a:schemeClr val="bg1">
                  <a:lumMod val="8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62434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6"/>
          </p:nvPr>
        </p:nvSpPr>
        <p:spPr>
          <a:xfrm>
            <a:off x="791358" y="6629427"/>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4" name="TextBox 3"/>
          <p:cNvSpPr txBox="1"/>
          <p:nvPr/>
        </p:nvSpPr>
        <p:spPr>
          <a:xfrm>
            <a:off x="6323798" y="1713298"/>
            <a:ext cx="1078029" cy="453970"/>
          </a:xfrm>
          <a:prstGeom prst="rect">
            <a:avLst/>
          </a:prstGeom>
          <a:solidFill>
            <a:schemeClr val="bg1"/>
          </a:solidFill>
        </p:spPr>
        <p:txBody>
          <a:bodyPr wrap="square" lIns="0" tIns="0" rIns="0" bIns="0" rtlCol="0">
            <a:spAutoFit/>
          </a:bodyPr>
          <a:lstStyle/>
          <a:p>
            <a:pPr>
              <a:spcBef>
                <a:spcPts val="600"/>
              </a:spcBef>
              <a:buClr>
                <a:schemeClr val="tx2"/>
              </a:buClr>
            </a:pPr>
            <a:endParaRPr lang="en-US" sz="1400" b="1" i="1" dirty="0" smtClean="0">
              <a:solidFill>
                <a:schemeClr val="tx2"/>
              </a:solidFill>
            </a:endParaRPr>
          </a:p>
          <a:p>
            <a:pPr>
              <a:spcBef>
                <a:spcPts val="600"/>
              </a:spcBef>
              <a:buClr>
                <a:schemeClr val="tx2"/>
              </a:buClr>
            </a:pPr>
            <a:r>
              <a:rPr lang="en-US" sz="1050" b="1" i="1" dirty="0" smtClean="0">
                <a:solidFill>
                  <a:schemeClr val="tx2"/>
                </a:solidFill>
                <a:latin typeface="Verdana" panose="020B0604030504040204" pitchFamily="34" charset="0"/>
                <a:ea typeface="Verdana" panose="020B0604030504040204" pitchFamily="34" charset="0"/>
                <a:cs typeface="Verdana" panose="020B0604030504040204" pitchFamily="34" charset="0"/>
              </a:rPr>
              <a:t>    Serbia</a:t>
            </a:r>
          </a:p>
        </p:txBody>
      </p:sp>
      <p:grpSp>
        <p:nvGrpSpPr>
          <p:cNvPr id="2" name="Group 4"/>
          <p:cNvGrpSpPr>
            <a:grpSpLocks noChangeAspect="1"/>
          </p:cNvGrpSpPr>
          <p:nvPr/>
        </p:nvGrpSpPr>
        <p:grpSpPr bwMode="auto">
          <a:xfrm>
            <a:off x="511175" y="217631"/>
            <a:ext cx="10787063" cy="5986463"/>
            <a:chOff x="322" y="172"/>
            <a:chExt cx="6795" cy="3771"/>
          </a:xfrm>
        </p:grpSpPr>
        <p:sp>
          <p:nvSpPr>
            <p:cNvPr id="3" name="AutoShape 3"/>
            <p:cNvSpPr>
              <a:spLocks noChangeAspect="1" noChangeArrowheads="1" noTextEdit="1"/>
            </p:cNvSpPr>
            <p:nvPr/>
          </p:nvSpPr>
          <p:spPr bwMode="auto">
            <a:xfrm>
              <a:off x="322" y="172"/>
              <a:ext cx="6795" cy="3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410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 y="172"/>
              <a:ext cx="6800" cy="3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TextBox 6"/>
          <p:cNvSpPr txBox="1"/>
          <p:nvPr/>
        </p:nvSpPr>
        <p:spPr>
          <a:xfrm>
            <a:off x="6323798" y="1713298"/>
            <a:ext cx="1078029" cy="469359"/>
          </a:xfrm>
          <a:prstGeom prst="rect">
            <a:avLst/>
          </a:prstGeom>
          <a:solidFill>
            <a:schemeClr val="bg1"/>
          </a:solidFill>
        </p:spPr>
        <p:txBody>
          <a:bodyPr wrap="square" lIns="0" tIns="0" rIns="0" bIns="0" rtlCol="0">
            <a:spAutoFit/>
          </a:bodyPr>
          <a:lstStyle/>
          <a:p>
            <a:pPr>
              <a:spcBef>
                <a:spcPts val="600"/>
              </a:spcBef>
              <a:buClr>
                <a:schemeClr val="tx2"/>
              </a:buClr>
            </a:pPr>
            <a:endParaRPr lang="en-US" sz="1400" b="1" i="1" dirty="0" smtClean="0">
              <a:solidFill>
                <a:schemeClr val="tx2"/>
              </a:solidFill>
            </a:endParaRPr>
          </a:p>
          <a:p>
            <a:pPr>
              <a:spcBef>
                <a:spcPts val="600"/>
              </a:spcBef>
              <a:buClr>
                <a:schemeClr val="tx2"/>
              </a:buClr>
            </a:pPr>
            <a:r>
              <a:rPr lang="en-US" sz="1050" b="1" i="1" dirty="0" smtClean="0">
                <a:solidFill>
                  <a:schemeClr val="tx2"/>
                </a:solidFill>
                <a:latin typeface="Verdana" panose="020B0604030504040204" pitchFamily="34" charset="0"/>
                <a:ea typeface="Verdana" panose="020B0604030504040204" pitchFamily="34" charset="0"/>
                <a:cs typeface="Verdana" panose="020B0604030504040204" pitchFamily="34" charset="0"/>
              </a:rPr>
              <a:t>    </a:t>
            </a:r>
            <a:r>
              <a:rPr lang="en-US" sz="1150" b="1" i="1"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rbia</a:t>
            </a:r>
          </a:p>
        </p:txBody>
      </p:sp>
      <p:sp>
        <p:nvSpPr>
          <p:cNvPr id="9" name="Slide Number Placeholder 5"/>
          <p:cNvSpPr>
            <a:spLocks noGrp="1"/>
          </p:cNvSpPr>
          <p:nvPr>
            <p:ph type="sldNum" sz="quarter" idx="17"/>
          </p:nvPr>
        </p:nvSpPr>
        <p:spPr>
          <a:xfrm>
            <a:off x="504332" y="6594835"/>
            <a:ext cx="91372" cy="215444"/>
          </a:xfrm>
        </p:spPr>
        <p:txBody>
          <a:bodyPr/>
          <a:lstStyle/>
          <a:p>
            <a:pPr algn="l"/>
            <a:r>
              <a:rPr lang="en-US" sz="1400" b="1" dirty="0" smtClean="0">
                <a:solidFill>
                  <a:schemeClr val="accent3"/>
                </a:solidFill>
                <a:latin typeface="Calibri" panose="020F0502020204030204" pitchFamily="34" charset="0"/>
              </a:rPr>
              <a:t>2</a:t>
            </a:r>
            <a:endParaRPr lang="en-US" sz="1400" b="1" dirty="0">
              <a:solidFill>
                <a:schemeClr val="accent3"/>
              </a:solidFill>
              <a:latin typeface="Calibri" panose="020F0502020204030204" pitchFamily="34" charset="0"/>
            </a:endParaRPr>
          </a:p>
        </p:txBody>
      </p:sp>
    </p:spTree>
    <p:extLst>
      <p:ext uri="{BB962C8B-B14F-4D97-AF65-F5344CB8AC3E}">
        <p14:creationId xmlns:p14="http://schemas.microsoft.com/office/powerpoint/2010/main" val="300502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1230313" y="1055688"/>
            <a:ext cx="9340850" cy="5294312"/>
            <a:chOff x="775" y="665"/>
            <a:chExt cx="5884" cy="3335"/>
          </a:xfrm>
        </p:grpSpPr>
        <p:sp>
          <p:nvSpPr>
            <p:cNvPr id="18" name="AutoShape 3"/>
            <p:cNvSpPr>
              <a:spLocks noChangeAspect="1" noChangeArrowheads="1" noTextEdit="1"/>
            </p:cNvSpPr>
            <p:nvPr/>
          </p:nvSpPr>
          <p:spPr bwMode="auto">
            <a:xfrm>
              <a:off x="775" y="665"/>
              <a:ext cx="5884" cy="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51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 y="665"/>
              <a:ext cx="5889" cy="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Footer Placeholder 4"/>
          <p:cNvSpPr>
            <a:spLocks noGrp="1"/>
          </p:cNvSpPr>
          <p:nvPr>
            <p:ph type="ftr" sz="quarter" idx="16"/>
          </p:nvPr>
        </p:nvSpPr>
        <p:spPr>
          <a:xfrm>
            <a:off x="791358" y="6629427"/>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 name="Title 3"/>
          <p:cNvSpPr>
            <a:spLocks noGrp="1"/>
          </p:cNvSpPr>
          <p:nvPr>
            <p:ph type="title"/>
          </p:nvPr>
        </p:nvSpPr>
        <p:spPr>
          <a:xfrm>
            <a:off x="502631" y="346730"/>
            <a:ext cx="11513054" cy="307777"/>
          </a:xfrm>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Smart city framework</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Freeform 56"/>
          <p:cNvSpPr>
            <a:spLocks noChangeAspect="1" noEditPoints="1"/>
          </p:cNvSpPr>
          <p:nvPr/>
        </p:nvSpPr>
        <p:spPr bwMode="gray">
          <a:xfrm>
            <a:off x="4869102" y="803392"/>
            <a:ext cx="187576" cy="395014"/>
          </a:xfrm>
          <a:custGeom>
            <a:avLst/>
            <a:gdLst/>
            <a:ahLst/>
            <a:cxnLst>
              <a:cxn ang="0">
                <a:pos x="41" y="9"/>
              </a:cxn>
              <a:cxn ang="0">
                <a:pos x="34" y="1"/>
              </a:cxn>
              <a:cxn ang="0">
                <a:pos x="34" y="1"/>
              </a:cxn>
              <a:cxn ang="0">
                <a:pos x="13" y="1"/>
              </a:cxn>
              <a:cxn ang="0">
                <a:pos x="6" y="9"/>
              </a:cxn>
              <a:cxn ang="0">
                <a:pos x="0" y="18"/>
              </a:cxn>
              <a:cxn ang="0">
                <a:pos x="0" y="86"/>
              </a:cxn>
              <a:cxn ang="0">
                <a:pos x="6" y="95"/>
              </a:cxn>
              <a:cxn ang="0">
                <a:pos x="13" y="100"/>
              </a:cxn>
              <a:cxn ang="0">
                <a:pos x="13" y="100"/>
              </a:cxn>
              <a:cxn ang="0">
                <a:pos x="33" y="100"/>
              </a:cxn>
              <a:cxn ang="0">
                <a:pos x="40" y="95"/>
              </a:cxn>
              <a:cxn ang="0">
                <a:pos x="47" y="86"/>
              </a:cxn>
              <a:cxn ang="0">
                <a:pos x="47" y="18"/>
              </a:cxn>
              <a:cxn ang="0">
                <a:pos x="41" y="9"/>
              </a:cxn>
              <a:cxn ang="0">
                <a:pos x="42" y="83"/>
              </a:cxn>
              <a:cxn ang="0">
                <a:pos x="36" y="91"/>
              </a:cxn>
              <a:cxn ang="0">
                <a:pos x="11" y="91"/>
              </a:cxn>
              <a:cxn ang="0">
                <a:pos x="4" y="84"/>
              </a:cxn>
              <a:cxn ang="0">
                <a:pos x="4" y="22"/>
              </a:cxn>
              <a:cxn ang="0">
                <a:pos x="11" y="14"/>
              </a:cxn>
              <a:cxn ang="0">
                <a:pos x="36" y="14"/>
              </a:cxn>
              <a:cxn ang="0">
                <a:pos x="42" y="22"/>
              </a:cxn>
              <a:cxn ang="0">
                <a:pos x="42" y="83"/>
              </a:cxn>
              <a:cxn ang="0">
                <a:pos x="24" y="43"/>
              </a:cxn>
              <a:cxn ang="0">
                <a:pos x="37" y="43"/>
              </a:cxn>
              <a:cxn ang="0">
                <a:pos x="37" y="23"/>
              </a:cxn>
              <a:cxn ang="0">
                <a:pos x="32" y="18"/>
              </a:cxn>
              <a:cxn ang="0">
                <a:pos x="14" y="18"/>
              </a:cxn>
              <a:cxn ang="0">
                <a:pos x="9" y="24"/>
              </a:cxn>
              <a:cxn ang="0">
                <a:pos x="9" y="50"/>
              </a:cxn>
              <a:cxn ang="0">
                <a:pos x="28" y="26"/>
              </a:cxn>
              <a:cxn ang="0">
                <a:pos x="24" y="43"/>
              </a:cxn>
              <a:cxn ang="0">
                <a:pos x="37" y="79"/>
              </a:cxn>
              <a:cxn ang="0">
                <a:pos x="37" y="48"/>
              </a:cxn>
              <a:cxn ang="0">
                <a:pos x="18" y="78"/>
              </a:cxn>
              <a:cxn ang="0">
                <a:pos x="24" y="52"/>
              </a:cxn>
              <a:cxn ang="0">
                <a:pos x="9" y="52"/>
              </a:cxn>
              <a:cxn ang="0">
                <a:pos x="9" y="80"/>
              </a:cxn>
              <a:cxn ang="0">
                <a:pos x="13" y="86"/>
              </a:cxn>
              <a:cxn ang="0">
                <a:pos x="34" y="86"/>
              </a:cxn>
              <a:cxn ang="0">
                <a:pos x="37" y="79"/>
              </a:cxn>
            </a:cxnLst>
            <a:rect l="0" t="0" r="r" b="b"/>
            <a:pathLst>
              <a:path w="47" h="100">
                <a:moveTo>
                  <a:pt x="41" y="9"/>
                </a:moveTo>
                <a:cubicBezTo>
                  <a:pt x="40" y="4"/>
                  <a:pt x="38" y="2"/>
                  <a:pt x="34" y="1"/>
                </a:cubicBezTo>
                <a:cubicBezTo>
                  <a:pt x="34" y="1"/>
                  <a:pt x="34" y="1"/>
                  <a:pt x="34" y="1"/>
                </a:cubicBezTo>
                <a:cubicBezTo>
                  <a:pt x="23" y="0"/>
                  <a:pt x="13" y="1"/>
                  <a:pt x="13" y="1"/>
                </a:cubicBezTo>
                <a:cubicBezTo>
                  <a:pt x="9" y="2"/>
                  <a:pt x="6" y="4"/>
                  <a:pt x="6" y="9"/>
                </a:cubicBezTo>
                <a:cubicBezTo>
                  <a:pt x="1" y="10"/>
                  <a:pt x="0" y="12"/>
                  <a:pt x="0" y="18"/>
                </a:cubicBezTo>
                <a:cubicBezTo>
                  <a:pt x="0" y="86"/>
                  <a:pt x="0" y="86"/>
                  <a:pt x="0" y="86"/>
                </a:cubicBezTo>
                <a:cubicBezTo>
                  <a:pt x="0" y="92"/>
                  <a:pt x="2" y="95"/>
                  <a:pt x="6" y="95"/>
                </a:cubicBezTo>
                <a:cubicBezTo>
                  <a:pt x="6" y="97"/>
                  <a:pt x="9" y="99"/>
                  <a:pt x="13" y="100"/>
                </a:cubicBezTo>
                <a:cubicBezTo>
                  <a:pt x="13" y="100"/>
                  <a:pt x="13" y="100"/>
                  <a:pt x="13" y="100"/>
                </a:cubicBezTo>
                <a:cubicBezTo>
                  <a:pt x="24" y="100"/>
                  <a:pt x="33" y="100"/>
                  <a:pt x="33" y="100"/>
                </a:cubicBezTo>
                <a:cubicBezTo>
                  <a:pt x="37" y="99"/>
                  <a:pt x="40" y="97"/>
                  <a:pt x="40" y="95"/>
                </a:cubicBezTo>
                <a:cubicBezTo>
                  <a:pt x="44" y="95"/>
                  <a:pt x="47" y="91"/>
                  <a:pt x="47" y="86"/>
                </a:cubicBezTo>
                <a:cubicBezTo>
                  <a:pt x="47" y="18"/>
                  <a:pt x="47" y="18"/>
                  <a:pt x="47" y="18"/>
                </a:cubicBezTo>
                <a:cubicBezTo>
                  <a:pt x="47" y="12"/>
                  <a:pt x="45" y="10"/>
                  <a:pt x="41" y="9"/>
                </a:cubicBezTo>
                <a:close/>
                <a:moveTo>
                  <a:pt x="42" y="83"/>
                </a:moveTo>
                <a:cubicBezTo>
                  <a:pt x="42" y="88"/>
                  <a:pt x="40" y="91"/>
                  <a:pt x="36" y="91"/>
                </a:cubicBezTo>
                <a:cubicBezTo>
                  <a:pt x="11" y="91"/>
                  <a:pt x="11" y="91"/>
                  <a:pt x="11" y="91"/>
                </a:cubicBezTo>
                <a:cubicBezTo>
                  <a:pt x="7" y="91"/>
                  <a:pt x="4" y="89"/>
                  <a:pt x="4" y="84"/>
                </a:cubicBezTo>
                <a:cubicBezTo>
                  <a:pt x="4" y="22"/>
                  <a:pt x="4" y="22"/>
                  <a:pt x="4" y="22"/>
                </a:cubicBezTo>
                <a:cubicBezTo>
                  <a:pt x="4" y="17"/>
                  <a:pt x="7" y="14"/>
                  <a:pt x="11" y="14"/>
                </a:cubicBezTo>
                <a:cubicBezTo>
                  <a:pt x="36" y="14"/>
                  <a:pt x="36" y="14"/>
                  <a:pt x="36" y="14"/>
                </a:cubicBezTo>
                <a:cubicBezTo>
                  <a:pt x="39" y="14"/>
                  <a:pt x="42" y="17"/>
                  <a:pt x="42" y="22"/>
                </a:cubicBezTo>
                <a:lnTo>
                  <a:pt x="42" y="83"/>
                </a:lnTo>
                <a:close/>
                <a:moveTo>
                  <a:pt x="24" y="43"/>
                </a:moveTo>
                <a:cubicBezTo>
                  <a:pt x="37" y="43"/>
                  <a:pt x="37" y="43"/>
                  <a:pt x="37" y="43"/>
                </a:cubicBezTo>
                <a:cubicBezTo>
                  <a:pt x="37" y="23"/>
                  <a:pt x="37" y="23"/>
                  <a:pt x="37" y="23"/>
                </a:cubicBezTo>
                <a:cubicBezTo>
                  <a:pt x="37" y="19"/>
                  <a:pt x="36" y="18"/>
                  <a:pt x="32" y="18"/>
                </a:cubicBezTo>
                <a:cubicBezTo>
                  <a:pt x="14" y="18"/>
                  <a:pt x="14" y="18"/>
                  <a:pt x="14" y="18"/>
                </a:cubicBezTo>
                <a:cubicBezTo>
                  <a:pt x="10" y="18"/>
                  <a:pt x="9" y="19"/>
                  <a:pt x="9" y="24"/>
                </a:cubicBezTo>
                <a:cubicBezTo>
                  <a:pt x="9" y="50"/>
                  <a:pt x="9" y="50"/>
                  <a:pt x="9" y="50"/>
                </a:cubicBezTo>
                <a:cubicBezTo>
                  <a:pt x="28" y="26"/>
                  <a:pt x="28" y="26"/>
                  <a:pt x="28" y="26"/>
                </a:cubicBezTo>
                <a:lnTo>
                  <a:pt x="24" y="43"/>
                </a:lnTo>
                <a:close/>
                <a:moveTo>
                  <a:pt x="37" y="79"/>
                </a:moveTo>
                <a:cubicBezTo>
                  <a:pt x="37" y="48"/>
                  <a:pt x="37" y="48"/>
                  <a:pt x="37" y="48"/>
                </a:cubicBezTo>
                <a:cubicBezTo>
                  <a:pt x="18" y="78"/>
                  <a:pt x="18" y="78"/>
                  <a:pt x="18" y="78"/>
                </a:cubicBezTo>
                <a:cubicBezTo>
                  <a:pt x="24" y="52"/>
                  <a:pt x="24" y="52"/>
                  <a:pt x="24" y="52"/>
                </a:cubicBezTo>
                <a:cubicBezTo>
                  <a:pt x="9" y="52"/>
                  <a:pt x="9" y="52"/>
                  <a:pt x="9" y="52"/>
                </a:cubicBezTo>
                <a:cubicBezTo>
                  <a:pt x="9" y="80"/>
                  <a:pt x="9" y="80"/>
                  <a:pt x="9" y="80"/>
                </a:cubicBezTo>
                <a:cubicBezTo>
                  <a:pt x="9" y="85"/>
                  <a:pt x="10" y="86"/>
                  <a:pt x="13" y="86"/>
                </a:cubicBezTo>
                <a:cubicBezTo>
                  <a:pt x="34" y="86"/>
                  <a:pt x="34" y="86"/>
                  <a:pt x="34" y="86"/>
                </a:cubicBezTo>
                <a:cubicBezTo>
                  <a:pt x="37" y="86"/>
                  <a:pt x="37" y="83"/>
                  <a:pt x="37" y="79"/>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 name="TextBox 1"/>
          <p:cNvSpPr txBox="1"/>
          <p:nvPr/>
        </p:nvSpPr>
        <p:spPr>
          <a:xfrm>
            <a:off x="5159141" y="654507"/>
            <a:ext cx="1828800" cy="769441"/>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Water supply</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Electricity</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Housing</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itizen safety</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werage &amp; sanitation</a:t>
            </a:r>
          </a:p>
        </p:txBody>
      </p:sp>
      <p:sp>
        <p:nvSpPr>
          <p:cNvPr id="8" name="Freeform 5"/>
          <p:cNvSpPr>
            <a:spLocks noChangeAspect="1" noEditPoints="1"/>
          </p:cNvSpPr>
          <p:nvPr/>
        </p:nvSpPr>
        <p:spPr bwMode="gray">
          <a:xfrm>
            <a:off x="9151241" y="1908888"/>
            <a:ext cx="229655" cy="213925"/>
          </a:xfrm>
          <a:custGeom>
            <a:avLst/>
            <a:gdLst/>
            <a:ahLst/>
            <a:cxnLst>
              <a:cxn ang="0">
                <a:pos x="45" y="8"/>
              </a:cxn>
              <a:cxn ang="0">
                <a:pos x="30" y="8"/>
              </a:cxn>
              <a:cxn ang="0">
                <a:pos x="63" y="18"/>
              </a:cxn>
              <a:cxn ang="0">
                <a:pos x="63" y="3"/>
              </a:cxn>
              <a:cxn ang="0">
                <a:pos x="63" y="18"/>
              </a:cxn>
              <a:cxn ang="0">
                <a:pos x="19" y="16"/>
              </a:cxn>
              <a:cxn ang="0">
                <a:pos x="7" y="16"/>
              </a:cxn>
              <a:cxn ang="0">
                <a:pos x="88" y="21"/>
              </a:cxn>
              <a:cxn ang="0">
                <a:pos x="88" y="8"/>
              </a:cxn>
              <a:cxn ang="0">
                <a:pos x="88" y="21"/>
              </a:cxn>
              <a:cxn ang="0">
                <a:pos x="81" y="24"/>
              </a:cxn>
              <a:cxn ang="0">
                <a:pos x="71" y="21"/>
              </a:cxn>
              <a:cxn ang="0">
                <a:pos x="51" y="23"/>
              </a:cxn>
              <a:cxn ang="0">
                <a:pos x="30" y="20"/>
              </a:cxn>
              <a:cxn ang="0">
                <a:pos x="18" y="26"/>
              </a:cxn>
              <a:cxn ang="0">
                <a:pos x="0" y="34"/>
              </a:cxn>
              <a:cxn ang="0">
                <a:pos x="2" y="56"/>
              </a:cxn>
              <a:cxn ang="0">
                <a:pos x="4" y="32"/>
              </a:cxn>
              <a:cxn ang="0">
                <a:pos x="7" y="83"/>
              </a:cxn>
              <a:cxn ang="0">
                <a:pos x="15" y="88"/>
              </a:cxn>
              <a:cxn ang="0">
                <a:pos x="19" y="32"/>
              </a:cxn>
              <a:cxn ang="0">
                <a:pos x="22" y="54"/>
              </a:cxn>
              <a:cxn ang="0">
                <a:pos x="27" y="53"/>
              </a:cxn>
              <a:cxn ang="0">
                <a:pos x="30" y="29"/>
              </a:cxn>
              <a:cxn ang="0">
                <a:pos x="35" y="95"/>
              </a:cxn>
              <a:cxn ang="0">
                <a:pos x="46" y="87"/>
              </a:cxn>
              <a:cxn ang="0">
                <a:pos x="48" y="29"/>
              </a:cxn>
              <a:cxn ang="0">
                <a:pos x="51" y="56"/>
              </a:cxn>
              <a:cxn ang="0">
                <a:pos x="53" y="30"/>
              </a:cxn>
              <a:cxn ang="0">
                <a:pos x="55" y="87"/>
              </a:cxn>
              <a:cxn ang="0">
                <a:pos x="67" y="94"/>
              </a:cxn>
              <a:cxn ang="0">
                <a:pos x="72" y="30"/>
              </a:cxn>
              <a:cxn ang="0">
                <a:pos x="75" y="53"/>
              </a:cxn>
              <a:cxn ang="0">
                <a:pos x="79" y="54"/>
              </a:cxn>
              <a:cxn ang="0">
                <a:pos x="82" y="32"/>
              </a:cxn>
              <a:cxn ang="0">
                <a:pos x="85" y="86"/>
              </a:cxn>
              <a:cxn ang="0">
                <a:pos x="94" y="79"/>
              </a:cxn>
              <a:cxn ang="0">
                <a:pos x="97" y="32"/>
              </a:cxn>
              <a:cxn ang="0">
                <a:pos x="99" y="56"/>
              </a:cxn>
              <a:cxn ang="0">
                <a:pos x="102" y="33"/>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9" name="TextBox 8"/>
          <p:cNvSpPr txBox="1"/>
          <p:nvPr/>
        </p:nvSpPr>
        <p:spPr>
          <a:xfrm>
            <a:off x="9151241" y="2261361"/>
            <a:ext cx="1828800" cy="923330"/>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Education</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Health</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articipation in public life</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articipation of communities</a:t>
            </a:r>
          </a:p>
        </p:txBody>
      </p:sp>
      <p:sp>
        <p:nvSpPr>
          <p:cNvPr id="10" name="Freeform 43"/>
          <p:cNvSpPr>
            <a:spLocks noChangeAspect="1" noEditPoints="1"/>
          </p:cNvSpPr>
          <p:nvPr/>
        </p:nvSpPr>
        <p:spPr bwMode="gray">
          <a:xfrm>
            <a:off x="10712623" y="4817062"/>
            <a:ext cx="125418" cy="538415"/>
          </a:xfrm>
          <a:custGeom>
            <a:avLst/>
            <a:gdLst/>
            <a:ahLst/>
            <a:cxnLst>
              <a:cxn ang="0">
                <a:pos x="23" y="0"/>
              </a:cxn>
              <a:cxn ang="0">
                <a:pos x="4" y="0"/>
              </a:cxn>
              <a:cxn ang="0">
                <a:pos x="0" y="5"/>
              </a:cxn>
              <a:cxn ang="0">
                <a:pos x="0" y="69"/>
              </a:cxn>
              <a:cxn ang="0">
                <a:pos x="4" y="74"/>
              </a:cxn>
              <a:cxn ang="0">
                <a:pos x="9" y="74"/>
              </a:cxn>
              <a:cxn ang="0">
                <a:pos x="9" y="119"/>
              </a:cxn>
              <a:cxn ang="0">
                <a:pos x="18" y="119"/>
              </a:cxn>
              <a:cxn ang="0">
                <a:pos x="18" y="74"/>
              </a:cxn>
              <a:cxn ang="0">
                <a:pos x="23" y="74"/>
              </a:cxn>
              <a:cxn ang="0">
                <a:pos x="27" y="69"/>
              </a:cxn>
              <a:cxn ang="0">
                <a:pos x="27" y="5"/>
              </a:cxn>
              <a:cxn ang="0">
                <a:pos x="23" y="0"/>
              </a:cxn>
              <a:cxn ang="0">
                <a:pos x="13" y="70"/>
              </a:cxn>
              <a:cxn ang="0">
                <a:pos x="4" y="60"/>
              </a:cxn>
              <a:cxn ang="0">
                <a:pos x="13" y="51"/>
              </a:cxn>
              <a:cxn ang="0">
                <a:pos x="23" y="60"/>
              </a:cxn>
              <a:cxn ang="0">
                <a:pos x="13" y="70"/>
              </a:cxn>
              <a:cxn ang="0">
                <a:pos x="13" y="47"/>
              </a:cxn>
              <a:cxn ang="0">
                <a:pos x="4" y="37"/>
              </a:cxn>
              <a:cxn ang="0">
                <a:pos x="13" y="27"/>
              </a:cxn>
              <a:cxn ang="0">
                <a:pos x="23" y="37"/>
              </a:cxn>
              <a:cxn ang="0">
                <a:pos x="13" y="47"/>
              </a:cxn>
              <a:cxn ang="0">
                <a:pos x="13" y="24"/>
              </a:cxn>
              <a:cxn ang="0">
                <a:pos x="4" y="14"/>
              </a:cxn>
              <a:cxn ang="0">
                <a:pos x="13" y="5"/>
              </a:cxn>
              <a:cxn ang="0">
                <a:pos x="23" y="14"/>
              </a:cxn>
              <a:cxn ang="0">
                <a:pos x="13" y="24"/>
              </a:cxn>
            </a:cxnLst>
            <a:rect l="0" t="0" r="r" b="b"/>
            <a:pathLst>
              <a:path w="27" h="119">
                <a:moveTo>
                  <a:pt x="23" y="0"/>
                </a:moveTo>
                <a:cubicBezTo>
                  <a:pt x="4" y="0"/>
                  <a:pt x="4" y="0"/>
                  <a:pt x="4" y="0"/>
                </a:cubicBezTo>
                <a:cubicBezTo>
                  <a:pt x="2" y="0"/>
                  <a:pt x="0" y="2"/>
                  <a:pt x="0" y="5"/>
                </a:cubicBezTo>
                <a:cubicBezTo>
                  <a:pt x="0" y="69"/>
                  <a:pt x="0" y="69"/>
                  <a:pt x="0" y="69"/>
                </a:cubicBezTo>
                <a:cubicBezTo>
                  <a:pt x="0" y="72"/>
                  <a:pt x="2" y="74"/>
                  <a:pt x="4" y="74"/>
                </a:cubicBezTo>
                <a:cubicBezTo>
                  <a:pt x="9" y="74"/>
                  <a:pt x="9" y="74"/>
                  <a:pt x="9" y="74"/>
                </a:cubicBezTo>
                <a:cubicBezTo>
                  <a:pt x="9" y="119"/>
                  <a:pt x="9" y="119"/>
                  <a:pt x="9" y="119"/>
                </a:cubicBezTo>
                <a:cubicBezTo>
                  <a:pt x="18" y="119"/>
                  <a:pt x="18" y="119"/>
                  <a:pt x="18" y="119"/>
                </a:cubicBezTo>
                <a:cubicBezTo>
                  <a:pt x="18" y="74"/>
                  <a:pt x="18" y="74"/>
                  <a:pt x="18" y="74"/>
                </a:cubicBezTo>
                <a:cubicBezTo>
                  <a:pt x="23" y="74"/>
                  <a:pt x="23" y="74"/>
                  <a:pt x="23" y="74"/>
                </a:cubicBezTo>
                <a:cubicBezTo>
                  <a:pt x="25" y="74"/>
                  <a:pt x="27" y="72"/>
                  <a:pt x="27" y="69"/>
                </a:cubicBezTo>
                <a:cubicBezTo>
                  <a:pt x="27" y="5"/>
                  <a:pt x="27" y="5"/>
                  <a:pt x="27" y="5"/>
                </a:cubicBezTo>
                <a:cubicBezTo>
                  <a:pt x="27" y="2"/>
                  <a:pt x="25" y="0"/>
                  <a:pt x="23" y="0"/>
                </a:cubicBezTo>
                <a:close/>
                <a:moveTo>
                  <a:pt x="13" y="70"/>
                </a:moveTo>
                <a:cubicBezTo>
                  <a:pt x="8" y="70"/>
                  <a:pt x="4" y="66"/>
                  <a:pt x="4" y="60"/>
                </a:cubicBezTo>
                <a:cubicBezTo>
                  <a:pt x="4" y="55"/>
                  <a:pt x="8" y="51"/>
                  <a:pt x="13" y="51"/>
                </a:cubicBezTo>
                <a:cubicBezTo>
                  <a:pt x="19" y="51"/>
                  <a:pt x="23" y="55"/>
                  <a:pt x="23" y="60"/>
                </a:cubicBezTo>
                <a:cubicBezTo>
                  <a:pt x="23" y="66"/>
                  <a:pt x="19" y="70"/>
                  <a:pt x="13" y="70"/>
                </a:cubicBezTo>
                <a:close/>
                <a:moveTo>
                  <a:pt x="13" y="47"/>
                </a:moveTo>
                <a:cubicBezTo>
                  <a:pt x="8" y="47"/>
                  <a:pt x="4" y="42"/>
                  <a:pt x="4" y="37"/>
                </a:cubicBezTo>
                <a:cubicBezTo>
                  <a:pt x="4" y="32"/>
                  <a:pt x="8" y="27"/>
                  <a:pt x="13" y="27"/>
                </a:cubicBezTo>
                <a:cubicBezTo>
                  <a:pt x="19" y="27"/>
                  <a:pt x="23" y="32"/>
                  <a:pt x="23" y="37"/>
                </a:cubicBezTo>
                <a:cubicBezTo>
                  <a:pt x="23" y="42"/>
                  <a:pt x="19" y="47"/>
                  <a:pt x="13" y="47"/>
                </a:cubicBezTo>
                <a:close/>
                <a:moveTo>
                  <a:pt x="13" y="24"/>
                </a:moveTo>
                <a:cubicBezTo>
                  <a:pt x="8" y="24"/>
                  <a:pt x="4" y="19"/>
                  <a:pt x="4" y="14"/>
                </a:cubicBezTo>
                <a:cubicBezTo>
                  <a:pt x="4" y="9"/>
                  <a:pt x="8" y="5"/>
                  <a:pt x="13" y="5"/>
                </a:cubicBezTo>
                <a:cubicBezTo>
                  <a:pt x="19" y="5"/>
                  <a:pt x="23" y="9"/>
                  <a:pt x="23" y="14"/>
                </a:cubicBezTo>
                <a:cubicBezTo>
                  <a:pt x="23" y="19"/>
                  <a:pt x="19" y="24"/>
                  <a:pt x="13" y="2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 name="TextBox 10"/>
          <p:cNvSpPr txBox="1"/>
          <p:nvPr/>
        </p:nvSpPr>
        <p:spPr>
          <a:xfrm>
            <a:off x="8777366" y="4932382"/>
            <a:ext cx="1828800" cy="307777"/>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Transport</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ICT</a:t>
            </a:r>
          </a:p>
        </p:txBody>
      </p:sp>
      <p:sp>
        <p:nvSpPr>
          <p:cNvPr id="12" name="TextBox 11"/>
          <p:cNvSpPr txBox="1"/>
          <p:nvPr/>
        </p:nvSpPr>
        <p:spPr>
          <a:xfrm>
            <a:off x="7437268" y="5755633"/>
            <a:ext cx="1828800" cy="461665"/>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ollution</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ustainable resource management</a:t>
            </a:r>
          </a:p>
        </p:txBody>
      </p:sp>
      <p:sp>
        <p:nvSpPr>
          <p:cNvPr id="13" name="TextBox 12"/>
          <p:cNvSpPr txBox="1"/>
          <p:nvPr/>
        </p:nvSpPr>
        <p:spPr>
          <a:xfrm>
            <a:off x="1958344" y="5577222"/>
            <a:ext cx="1828800" cy="461665"/>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Income levels</a:t>
            </a:r>
          </a:p>
          <a:p>
            <a:pPr marL="285750" indent="-285750">
              <a:buClr>
                <a:schemeClr val="tx2"/>
              </a:buClr>
              <a:buFont typeface="Arial" panose="020B0604020202020204" pitchFamily="34" charset="0"/>
              <a:buChar char="•"/>
            </a:pPr>
            <a:r>
              <a:rPr lang="en-US" sz="1000" dirty="0" err="1" smtClean="0">
                <a:solidFill>
                  <a:schemeClr val="tx2"/>
                </a:solidFill>
                <a:latin typeface="Verdana" panose="020B0604030504040204" pitchFamily="34" charset="0"/>
                <a:ea typeface="Verdana" panose="020B0604030504040204" pitchFamily="34" charset="0"/>
                <a:cs typeface="Verdana" panose="020B0604030504040204" pitchFamily="34" charset="0"/>
              </a:rPr>
              <a:t>Labour</a:t>
            </a: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 market</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overty level</a:t>
            </a:r>
          </a:p>
        </p:txBody>
      </p:sp>
      <p:sp>
        <p:nvSpPr>
          <p:cNvPr id="14" name="TextBox 13"/>
          <p:cNvSpPr txBox="1"/>
          <p:nvPr/>
        </p:nvSpPr>
        <p:spPr>
          <a:xfrm>
            <a:off x="1569431" y="2933397"/>
            <a:ext cx="1828800" cy="461665"/>
          </a:xfrm>
          <a:prstGeom prst="rect">
            <a:avLst/>
          </a:prstGeom>
        </p:spPr>
        <p:style>
          <a:lnRef idx="2">
            <a:schemeClr val="accent6"/>
          </a:lnRef>
          <a:fillRef idx="1">
            <a:schemeClr val="lt1"/>
          </a:fillRef>
          <a:effectRef idx="0">
            <a:schemeClr val="accent6"/>
          </a:effectRef>
          <a:fontRef idx="minor">
            <a:schemeClr val="dk1"/>
          </a:fontRef>
        </p:style>
        <p:txBody>
          <a:bodyPr wrap="square" lIns="0" tIns="0" rIns="0" bIns="0" rtlCol="0">
            <a:spAutoFit/>
          </a:bodyPr>
          <a:lstStyle/>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Revenue management</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dministration</a:t>
            </a:r>
          </a:p>
          <a:p>
            <a:pPr marL="285750" indent="-285750">
              <a:buClr>
                <a:schemeClr val="tx2"/>
              </a:buClr>
              <a:buFont typeface="Arial" panose="020B0604020202020204" pitchFamily="34" charset="0"/>
              <a:buChar cha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Policy</a:t>
            </a:r>
          </a:p>
        </p:txBody>
      </p:sp>
      <p:sp>
        <p:nvSpPr>
          <p:cNvPr id="15" name="Freeform 68"/>
          <p:cNvSpPr>
            <a:spLocks noChangeAspect="1"/>
          </p:cNvSpPr>
          <p:nvPr/>
        </p:nvSpPr>
        <p:spPr bwMode="gray">
          <a:xfrm>
            <a:off x="7144479" y="5804342"/>
            <a:ext cx="198915" cy="315199"/>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16" name="Freeform 13"/>
          <p:cNvSpPr>
            <a:spLocks noChangeAspect="1" noEditPoints="1"/>
          </p:cNvSpPr>
          <p:nvPr/>
        </p:nvSpPr>
        <p:spPr bwMode="gray">
          <a:xfrm>
            <a:off x="1231098" y="5755633"/>
            <a:ext cx="470468" cy="313829"/>
          </a:xfrm>
          <a:custGeom>
            <a:avLst/>
            <a:gdLst/>
            <a:ahLst/>
            <a:cxnLst>
              <a:cxn ang="0">
                <a:pos x="114" y="29"/>
              </a:cxn>
              <a:cxn ang="0">
                <a:pos x="114" y="29"/>
              </a:cxn>
              <a:cxn ang="0">
                <a:pos x="110" y="29"/>
              </a:cxn>
              <a:cxn ang="0">
                <a:pos x="106" y="23"/>
              </a:cxn>
              <a:cxn ang="0">
                <a:pos x="107" y="7"/>
              </a:cxn>
              <a:cxn ang="0">
                <a:pos x="98" y="11"/>
              </a:cxn>
              <a:cxn ang="0">
                <a:pos x="98" y="1"/>
              </a:cxn>
              <a:cxn ang="0">
                <a:pos x="85" y="9"/>
              </a:cxn>
              <a:cxn ang="0">
                <a:pos x="85" y="9"/>
              </a:cxn>
              <a:cxn ang="0">
                <a:pos x="64" y="5"/>
              </a:cxn>
              <a:cxn ang="0">
                <a:pos x="18" y="28"/>
              </a:cxn>
              <a:cxn ang="0">
                <a:pos x="11" y="23"/>
              </a:cxn>
              <a:cxn ang="0">
                <a:pos x="20" y="18"/>
              </a:cxn>
              <a:cxn ang="0">
                <a:pos x="15" y="9"/>
              </a:cxn>
              <a:cxn ang="0">
                <a:pos x="6" y="13"/>
              </a:cxn>
              <a:cxn ang="0">
                <a:pos x="6" y="15"/>
              </a:cxn>
              <a:cxn ang="0">
                <a:pos x="2" y="6"/>
              </a:cxn>
              <a:cxn ang="0">
                <a:pos x="5" y="20"/>
              </a:cxn>
              <a:cxn ang="0">
                <a:pos x="16" y="36"/>
              </a:cxn>
              <a:cxn ang="0">
                <a:pos x="16" y="36"/>
              </a:cxn>
              <a:cxn ang="0">
                <a:pos x="16" y="39"/>
              </a:cxn>
              <a:cxn ang="0">
                <a:pos x="32" y="65"/>
              </a:cxn>
              <a:cxn ang="0">
                <a:pos x="37" y="79"/>
              </a:cxn>
              <a:cxn ang="0">
                <a:pos x="50" y="79"/>
              </a:cxn>
              <a:cxn ang="0">
                <a:pos x="51" y="73"/>
              </a:cxn>
              <a:cxn ang="0">
                <a:pos x="64" y="74"/>
              </a:cxn>
              <a:cxn ang="0">
                <a:pos x="75" y="73"/>
              </a:cxn>
              <a:cxn ang="0">
                <a:pos x="77" y="79"/>
              </a:cxn>
              <a:cxn ang="0">
                <a:pos x="90" y="79"/>
              </a:cxn>
              <a:cxn ang="0">
                <a:pos x="93" y="67"/>
              </a:cxn>
              <a:cxn ang="0">
                <a:pos x="93" y="67"/>
              </a:cxn>
              <a:cxn ang="0">
                <a:pos x="108" y="52"/>
              </a:cxn>
              <a:cxn ang="0">
                <a:pos x="114" y="52"/>
              </a:cxn>
              <a:cxn ang="0">
                <a:pos x="114" y="52"/>
              </a:cxn>
              <a:cxn ang="0">
                <a:pos x="119" y="41"/>
              </a:cxn>
              <a:cxn ang="0">
                <a:pos x="114" y="29"/>
              </a:cxn>
              <a:cxn ang="0">
                <a:pos x="9" y="16"/>
              </a:cxn>
              <a:cxn ang="0">
                <a:pos x="9" y="15"/>
              </a:cxn>
              <a:cxn ang="0">
                <a:pos x="14" y="13"/>
              </a:cxn>
              <a:cxn ang="0">
                <a:pos x="16" y="17"/>
              </a:cxn>
              <a:cxn ang="0">
                <a:pos x="12" y="19"/>
              </a:cxn>
              <a:cxn ang="0">
                <a:pos x="9" y="16"/>
              </a:cxn>
              <a:cxn ang="0">
                <a:pos x="74" y="14"/>
              </a:cxn>
              <a:cxn ang="0">
                <a:pos x="63" y="13"/>
              </a:cxn>
              <a:cxn ang="0">
                <a:pos x="53" y="14"/>
              </a:cxn>
              <a:cxn ang="0">
                <a:pos x="52" y="10"/>
              </a:cxn>
              <a:cxn ang="0">
                <a:pos x="62" y="9"/>
              </a:cxn>
              <a:cxn ang="0">
                <a:pos x="75" y="10"/>
              </a:cxn>
              <a:cxn ang="0">
                <a:pos x="74" y="14"/>
              </a:cxn>
              <a:cxn ang="0">
                <a:pos x="99" y="34"/>
              </a:cxn>
              <a:cxn ang="0">
                <a:pos x="95" y="30"/>
              </a:cxn>
              <a:cxn ang="0">
                <a:pos x="99" y="27"/>
              </a:cxn>
              <a:cxn ang="0">
                <a:pos x="102" y="30"/>
              </a:cxn>
              <a:cxn ang="0">
                <a:pos x="99" y="34"/>
              </a:cxn>
            </a:cxnLst>
            <a:rect l="0" t="0" r="r" b="b"/>
            <a:pathLst>
              <a:path w="119" h="79">
                <a:moveTo>
                  <a:pt x="114" y="29"/>
                </a:moveTo>
                <a:cubicBezTo>
                  <a:pt x="114" y="29"/>
                  <a:pt x="114" y="29"/>
                  <a:pt x="114" y="29"/>
                </a:cubicBezTo>
                <a:cubicBezTo>
                  <a:pt x="110" y="29"/>
                  <a:pt x="110" y="29"/>
                  <a:pt x="110" y="29"/>
                </a:cubicBezTo>
                <a:cubicBezTo>
                  <a:pt x="109" y="27"/>
                  <a:pt x="107" y="25"/>
                  <a:pt x="106" y="23"/>
                </a:cubicBezTo>
                <a:cubicBezTo>
                  <a:pt x="106" y="21"/>
                  <a:pt x="109" y="9"/>
                  <a:pt x="107" y="7"/>
                </a:cubicBezTo>
                <a:cubicBezTo>
                  <a:pt x="106" y="7"/>
                  <a:pt x="102" y="9"/>
                  <a:pt x="98" y="11"/>
                </a:cubicBezTo>
                <a:cubicBezTo>
                  <a:pt x="99" y="7"/>
                  <a:pt x="100" y="2"/>
                  <a:pt x="98" y="1"/>
                </a:cubicBezTo>
                <a:cubicBezTo>
                  <a:pt x="96" y="0"/>
                  <a:pt x="85" y="9"/>
                  <a:pt x="85" y="9"/>
                </a:cubicBezTo>
                <a:cubicBezTo>
                  <a:pt x="85" y="9"/>
                  <a:pt x="85" y="9"/>
                  <a:pt x="85" y="9"/>
                </a:cubicBezTo>
                <a:cubicBezTo>
                  <a:pt x="79" y="6"/>
                  <a:pt x="72" y="5"/>
                  <a:pt x="64" y="5"/>
                </a:cubicBezTo>
                <a:cubicBezTo>
                  <a:pt x="43" y="5"/>
                  <a:pt x="25" y="15"/>
                  <a:pt x="18" y="28"/>
                </a:cubicBezTo>
                <a:cubicBezTo>
                  <a:pt x="16" y="27"/>
                  <a:pt x="13" y="26"/>
                  <a:pt x="11" y="23"/>
                </a:cubicBezTo>
                <a:cubicBezTo>
                  <a:pt x="14" y="24"/>
                  <a:pt x="18" y="22"/>
                  <a:pt x="20" y="18"/>
                </a:cubicBezTo>
                <a:cubicBezTo>
                  <a:pt x="21" y="15"/>
                  <a:pt x="19" y="10"/>
                  <a:pt x="15" y="9"/>
                </a:cubicBezTo>
                <a:cubicBezTo>
                  <a:pt x="12" y="8"/>
                  <a:pt x="7" y="10"/>
                  <a:pt x="6" y="13"/>
                </a:cubicBezTo>
                <a:cubicBezTo>
                  <a:pt x="6" y="14"/>
                  <a:pt x="6" y="15"/>
                  <a:pt x="6" y="15"/>
                </a:cubicBezTo>
                <a:cubicBezTo>
                  <a:pt x="1" y="12"/>
                  <a:pt x="2" y="6"/>
                  <a:pt x="2" y="6"/>
                </a:cubicBezTo>
                <a:cubicBezTo>
                  <a:pt x="0" y="13"/>
                  <a:pt x="2" y="17"/>
                  <a:pt x="5" y="20"/>
                </a:cubicBezTo>
                <a:cubicBezTo>
                  <a:pt x="5" y="24"/>
                  <a:pt x="8" y="31"/>
                  <a:pt x="16" y="36"/>
                </a:cubicBezTo>
                <a:cubicBezTo>
                  <a:pt x="16" y="36"/>
                  <a:pt x="16" y="36"/>
                  <a:pt x="16" y="36"/>
                </a:cubicBezTo>
                <a:cubicBezTo>
                  <a:pt x="16" y="37"/>
                  <a:pt x="16" y="38"/>
                  <a:pt x="16" y="39"/>
                </a:cubicBezTo>
                <a:cubicBezTo>
                  <a:pt x="16" y="50"/>
                  <a:pt x="22" y="59"/>
                  <a:pt x="32" y="65"/>
                </a:cubicBezTo>
                <a:cubicBezTo>
                  <a:pt x="37" y="79"/>
                  <a:pt x="37" y="79"/>
                  <a:pt x="37" y="79"/>
                </a:cubicBezTo>
                <a:cubicBezTo>
                  <a:pt x="50" y="79"/>
                  <a:pt x="50" y="79"/>
                  <a:pt x="50" y="79"/>
                </a:cubicBezTo>
                <a:cubicBezTo>
                  <a:pt x="51" y="73"/>
                  <a:pt x="51" y="73"/>
                  <a:pt x="51" y="73"/>
                </a:cubicBezTo>
                <a:cubicBezTo>
                  <a:pt x="55" y="73"/>
                  <a:pt x="59" y="74"/>
                  <a:pt x="64" y="74"/>
                </a:cubicBezTo>
                <a:cubicBezTo>
                  <a:pt x="68" y="74"/>
                  <a:pt x="71" y="74"/>
                  <a:pt x="75" y="73"/>
                </a:cubicBezTo>
                <a:cubicBezTo>
                  <a:pt x="77" y="79"/>
                  <a:pt x="77" y="79"/>
                  <a:pt x="77" y="79"/>
                </a:cubicBezTo>
                <a:cubicBezTo>
                  <a:pt x="90" y="79"/>
                  <a:pt x="90" y="79"/>
                  <a:pt x="90" y="79"/>
                </a:cubicBezTo>
                <a:cubicBezTo>
                  <a:pt x="93" y="67"/>
                  <a:pt x="93" y="67"/>
                  <a:pt x="93" y="67"/>
                </a:cubicBezTo>
                <a:cubicBezTo>
                  <a:pt x="93" y="67"/>
                  <a:pt x="93" y="67"/>
                  <a:pt x="93" y="67"/>
                </a:cubicBezTo>
                <a:cubicBezTo>
                  <a:pt x="100" y="63"/>
                  <a:pt x="105" y="58"/>
                  <a:pt x="108" y="52"/>
                </a:cubicBezTo>
                <a:cubicBezTo>
                  <a:pt x="114" y="52"/>
                  <a:pt x="114" y="52"/>
                  <a:pt x="114" y="52"/>
                </a:cubicBezTo>
                <a:cubicBezTo>
                  <a:pt x="114" y="52"/>
                  <a:pt x="114" y="52"/>
                  <a:pt x="114" y="52"/>
                </a:cubicBezTo>
                <a:cubicBezTo>
                  <a:pt x="117" y="52"/>
                  <a:pt x="119" y="47"/>
                  <a:pt x="119" y="41"/>
                </a:cubicBezTo>
                <a:cubicBezTo>
                  <a:pt x="119" y="35"/>
                  <a:pt x="117" y="30"/>
                  <a:pt x="114" y="29"/>
                </a:cubicBezTo>
                <a:close/>
                <a:moveTo>
                  <a:pt x="9" y="16"/>
                </a:moveTo>
                <a:cubicBezTo>
                  <a:pt x="9" y="16"/>
                  <a:pt x="9" y="15"/>
                  <a:pt x="9" y="15"/>
                </a:cubicBezTo>
                <a:cubicBezTo>
                  <a:pt x="10" y="13"/>
                  <a:pt x="12" y="12"/>
                  <a:pt x="14" y="13"/>
                </a:cubicBezTo>
                <a:cubicBezTo>
                  <a:pt x="16" y="13"/>
                  <a:pt x="17" y="15"/>
                  <a:pt x="16" y="17"/>
                </a:cubicBezTo>
                <a:cubicBezTo>
                  <a:pt x="16" y="19"/>
                  <a:pt x="14" y="20"/>
                  <a:pt x="12" y="19"/>
                </a:cubicBezTo>
                <a:cubicBezTo>
                  <a:pt x="10" y="19"/>
                  <a:pt x="9" y="18"/>
                  <a:pt x="9" y="16"/>
                </a:cubicBezTo>
                <a:close/>
                <a:moveTo>
                  <a:pt x="74" y="14"/>
                </a:moveTo>
                <a:cubicBezTo>
                  <a:pt x="71" y="14"/>
                  <a:pt x="67" y="13"/>
                  <a:pt x="63" y="13"/>
                </a:cubicBezTo>
                <a:cubicBezTo>
                  <a:pt x="59" y="13"/>
                  <a:pt x="56" y="14"/>
                  <a:pt x="53" y="14"/>
                </a:cubicBezTo>
                <a:cubicBezTo>
                  <a:pt x="52" y="10"/>
                  <a:pt x="52" y="10"/>
                  <a:pt x="52" y="10"/>
                </a:cubicBezTo>
                <a:cubicBezTo>
                  <a:pt x="55" y="10"/>
                  <a:pt x="59" y="9"/>
                  <a:pt x="62" y="9"/>
                </a:cubicBezTo>
                <a:cubicBezTo>
                  <a:pt x="67" y="9"/>
                  <a:pt x="71" y="10"/>
                  <a:pt x="75" y="10"/>
                </a:cubicBezTo>
                <a:lnTo>
                  <a:pt x="74" y="14"/>
                </a:lnTo>
                <a:close/>
                <a:moveTo>
                  <a:pt x="99" y="34"/>
                </a:moveTo>
                <a:cubicBezTo>
                  <a:pt x="97" y="34"/>
                  <a:pt x="95" y="32"/>
                  <a:pt x="95" y="30"/>
                </a:cubicBezTo>
                <a:cubicBezTo>
                  <a:pt x="95" y="29"/>
                  <a:pt x="97" y="27"/>
                  <a:pt x="99" y="27"/>
                </a:cubicBezTo>
                <a:cubicBezTo>
                  <a:pt x="101" y="27"/>
                  <a:pt x="102" y="29"/>
                  <a:pt x="102" y="30"/>
                </a:cubicBezTo>
                <a:cubicBezTo>
                  <a:pt x="102" y="32"/>
                  <a:pt x="101" y="34"/>
                  <a:pt x="99" y="3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7" name="Freeform 35"/>
          <p:cNvSpPr>
            <a:spLocks noChangeAspect="1" noEditPoints="1"/>
          </p:cNvSpPr>
          <p:nvPr/>
        </p:nvSpPr>
        <p:spPr bwMode="gray">
          <a:xfrm>
            <a:off x="977989" y="2969657"/>
            <a:ext cx="435133" cy="403569"/>
          </a:xfrm>
          <a:custGeom>
            <a:avLst/>
            <a:gdLst/>
            <a:ahLst/>
            <a:cxnLst>
              <a:cxn ang="0">
                <a:pos x="18" y="34"/>
              </a:cxn>
              <a:cxn ang="0">
                <a:pos x="41" y="10"/>
              </a:cxn>
              <a:cxn ang="0">
                <a:pos x="56" y="25"/>
              </a:cxn>
              <a:cxn ang="0">
                <a:pos x="34" y="49"/>
              </a:cxn>
              <a:cxn ang="0">
                <a:pos x="18" y="34"/>
              </a:cxn>
              <a:cxn ang="0">
                <a:pos x="59" y="23"/>
              </a:cxn>
              <a:cxn ang="0">
                <a:pos x="63" y="22"/>
              </a:cxn>
              <a:cxn ang="0">
                <a:pos x="65" y="21"/>
              </a:cxn>
              <a:cxn ang="0">
                <a:pos x="65" y="17"/>
              </a:cxn>
              <a:cxn ang="0">
                <a:pos x="48" y="1"/>
              </a:cxn>
              <a:cxn ang="0">
                <a:pos x="44" y="1"/>
              </a:cxn>
              <a:cxn ang="0">
                <a:pos x="43" y="3"/>
              </a:cxn>
              <a:cxn ang="0">
                <a:pos x="43" y="7"/>
              </a:cxn>
              <a:cxn ang="0">
                <a:pos x="59" y="23"/>
              </a:cxn>
              <a:cxn ang="0">
                <a:pos x="26" y="58"/>
              </a:cxn>
              <a:cxn ang="0">
                <a:pos x="30" y="58"/>
              </a:cxn>
              <a:cxn ang="0">
                <a:pos x="32" y="56"/>
              </a:cxn>
              <a:cxn ang="0">
                <a:pos x="32" y="52"/>
              </a:cxn>
              <a:cxn ang="0">
                <a:pos x="15" y="36"/>
              </a:cxn>
              <a:cxn ang="0">
                <a:pos x="11" y="36"/>
              </a:cxn>
              <a:cxn ang="0">
                <a:pos x="10" y="38"/>
              </a:cxn>
              <a:cxn ang="0">
                <a:pos x="10" y="42"/>
              </a:cxn>
              <a:cxn ang="0">
                <a:pos x="26" y="58"/>
              </a:cxn>
              <a:cxn ang="0">
                <a:pos x="44" y="43"/>
              </a:cxn>
              <a:cxn ang="0">
                <a:pos x="98" y="93"/>
              </a:cxn>
              <a:cxn ang="0">
                <a:pos x="105" y="95"/>
              </a:cxn>
              <a:cxn ang="0">
                <a:pos x="107" y="92"/>
              </a:cxn>
              <a:cxn ang="0">
                <a:pos x="105" y="86"/>
              </a:cxn>
              <a:cxn ang="0">
                <a:pos x="51" y="35"/>
              </a:cxn>
              <a:cxn ang="0">
                <a:pos x="44" y="43"/>
              </a:cxn>
              <a:cxn ang="0">
                <a:pos x="63" y="93"/>
              </a:cxn>
              <a:cxn ang="0">
                <a:pos x="61" y="92"/>
              </a:cxn>
              <a:cxn ang="0">
                <a:pos x="1" y="92"/>
              </a:cxn>
              <a:cxn ang="0">
                <a:pos x="0" y="93"/>
              </a:cxn>
              <a:cxn ang="0">
                <a:pos x="0" y="98"/>
              </a:cxn>
              <a:cxn ang="0">
                <a:pos x="1" y="100"/>
              </a:cxn>
              <a:cxn ang="0">
                <a:pos x="61" y="100"/>
              </a:cxn>
              <a:cxn ang="0">
                <a:pos x="63" y="98"/>
              </a:cxn>
              <a:cxn ang="0">
                <a:pos x="63" y="93"/>
              </a:cxn>
              <a:cxn ang="0">
                <a:pos x="14" y="82"/>
              </a:cxn>
              <a:cxn ang="0">
                <a:pos x="49" y="82"/>
              </a:cxn>
              <a:cxn ang="0">
                <a:pos x="53" y="85"/>
              </a:cxn>
              <a:cxn ang="0">
                <a:pos x="53" y="89"/>
              </a:cxn>
              <a:cxn ang="0">
                <a:pos x="9" y="89"/>
              </a:cxn>
              <a:cxn ang="0">
                <a:pos x="9" y="85"/>
              </a:cxn>
              <a:cxn ang="0">
                <a:pos x="14" y="82"/>
              </a:cxn>
            </a:cxnLst>
            <a:rect l="0" t="0" r="r" b="b"/>
            <a:pathLst>
              <a:path w="108" h="100">
                <a:moveTo>
                  <a:pt x="18" y="34"/>
                </a:moveTo>
                <a:cubicBezTo>
                  <a:pt x="41" y="10"/>
                  <a:pt x="41" y="10"/>
                  <a:pt x="41" y="10"/>
                </a:cubicBezTo>
                <a:cubicBezTo>
                  <a:pt x="56" y="25"/>
                  <a:pt x="56" y="25"/>
                  <a:pt x="56" y="25"/>
                </a:cubicBezTo>
                <a:cubicBezTo>
                  <a:pt x="34" y="49"/>
                  <a:pt x="34" y="49"/>
                  <a:pt x="34" y="49"/>
                </a:cubicBezTo>
                <a:lnTo>
                  <a:pt x="18" y="34"/>
                </a:lnTo>
                <a:close/>
                <a:moveTo>
                  <a:pt x="59" y="23"/>
                </a:moveTo>
                <a:cubicBezTo>
                  <a:pt x="60" y="24"/>
                  <a:pt x="62" y="24"/>
                  <a:pt x="63" y="22"/>
                </a:cubicBezTo>
                <a:cubicBezTo>
                  <a:pt x="65" y="21"/>
                  <a:pt x="65" y="21"/>
                  <a:pt x="65" y="21"/>
                </a:cubicBezTo>
                <a:cubicBezTo>
                  <a:pt x="66" y="20"/>
                  <a:pt x="66" y="18"/>
                  <a:pt x="65" y="17"/>
                </a:cubicBezTo>
                <a:cubicBezTo>
                  <a:pt x="48" y="1"/>
                  <a:pt x="48" y="1"/>
                  <a:pt x="48" y="1"/>
                </a:cubicBezTo>
                <a:cubicBezTo>
                  <a:pt x="47" y="0"/>
                  <a:pt x="45" y="0"/>
                  <a:pt x="44" y="1"/>
                </a:cubicBezTo>
                <a:cubicBezTo>
                  <a:pt x="43" y="3"/>
                  <a:pt x="43" y="3"/>
                  <a:pt x="43" y="3"/>
                </a:cubicBezTo>
                <a:cubicBezTo>
                  <a:pt x="41" y="4"/>
                  <a:pt x="42" y="6"/>
                  <a:pt x="43" y="7"/>
                </a:cubicBezTo>
                <a:lnTo>
                  <a:pt x="59" y="23"/>
                </a:lnTo>
                <a:close/>
                <a:moveTo>
                  <a:pt x="26" y="58"/>
                </a:moveTo>
                <a:cubicBezTo>
                  <a:pt x="27" y="59"/>
                  <a:pt x="29" y="59"/>
                  <a:pt x="30" y="58"/>
                </a:cubicBezTo>
                <a:cubicBezTo>
                  <a:pt x="32" y="56"/>
                  <a:pt x="32" y="56"/>
                  <a:pt x="32" y="56"/>
                </a:cubicBezTo>
                <a:cubicBezTo>
                  <a:pt x="33" y="55"/>
                  <a:pt x="33" y="53"/>
                  <a:pt x="32" y="52"/>
                </a:cubicBezTo>
                <a:cubicBezTo>
                  <a:pt x="15" y="36"/>
                  <a:pt x="15" y="36"/>
                  <a:pt x="15" y="36"/>
                </a:cubicBezTo>
                <a:cubicBezTo>
                  <a:pt x="14" y="35"/>
                  <a:pt x="12" y="35"/>
                  <a:pt x="11" y="36"/>
                </a:cubicBezTo>
                <a:cubicBezTo>
                  <a:pt x="10" y="38"/>
                  <a:pt x="10" y="38"/>
                  <a:pt x="10" y="38"/>
                </a:cubicBezTo>
                <a:cubicBezTo>
                  <a:pt x="8" y="39"/>
                  <a:pt x="9" y="41"/>
                  <a:pt x="10" y="42"/>
                </a:cubicBezTo>
                <a:lnTo>
                  <a:pt x="26" y="58"/>
                </a:lnTo>
                <a:close/>
                <a:moveTo>
                  <a:pt x="44" y="43"/>
                </a:moveTo>
                <a:cubicBezTo>
                  <a:pt x="98" y="93"/>
                  <a:pt x="98" y="93"/>
                  <a:pt x="98" y="93"/>
                </a:cubicBezTo>
                <a:cubicBezTo>
                  <a:pt x="100" y="96"/>
                  <a:pt x="103" y="96"/>
                  <a:pt x="105" y="95"/>
                </a:cubicBezTo>
                <a:cubicBezTo>
                  <a:pt x="107" y="92"/>
                  <a:pt x="107" y="92"/>
                  <a:pt x="107" y="92"/>
                </a:cubicBezTo>
                <a:cubicBezTo>
                  <a:pt x="108" y="91"/>
                  <a:pt x="107" y="88"/>
                  <a:pt x="105" y="86"/>
                </a:cubicBezTo>
                <a:cubicBezTo>
                  <a:pt x="51" y="35"/>
                  <a:pt x="51" y="35"/>
                  <a:pt x="51" y="35"/>
                </a:cubicBezTo>
                <a:lnTo>
                  <a:pt x="44" y="43"/>
                </a:lnTo>
                <a:close/>
                <a:moveTo>
                  <a:pt x="63" y="93"/>
                </a:moveTo>
                <a:cubicBezTo>
                  <a:pt x="63" y="93"/>
                  <a:pt x="62" y="92"/>
                  <a:pt x="61" y="92"/>
                </a:cubicBezTo>
                <a:cubicBezTo>
                  <a:pt x="1" y="92"/>
                  <a:pt x="1" y="92"/>
                  <a:pt x="1" y="92"/>
                </a:cubicBezTo>
                <a:cubicBezTo>
                  <a:pt x="1" y="92"/>
                  <a:pt x="0" y="93"/>
                  <a:pt x="0" y="93"/>
                </a:cubicBezTo>
                <a:cubicBezTo>
                  <a:pt x="0" y="98"/>
                  <a:pt x="0" y="98"/>
                  <a:pt x="0" y="98"/>
                </a:cubicBezTo>
                <a:cubicBezTo>
                  <a:pt x="0" y="99"/>
                  <a:pt x="1" y="100"/>
                  <a:pt x="1" y="100"/>
                </a:cubicBezTo>
                <a:cubicBezTo>
                  <a:pt x="61" y="100"/>
                  <a:pt x="61" y="100"/>
                  <a:pt x="61" y="100"/>
                </a:cubicBezTo>
                <a:cubicBezTo>
                  <a:pt x="62" y="100"/>
                  <a:pt x="63" y="99"/>
                  <a:pt x="63" y="98"/>
                </a:cubicBezTo>
                <a:lnTo>
                  <a:pt x="63" y="93"/>
                </a:lnTo>
                <a:close/>
                <a:moveTo>
                  <a:pt x="14" y="82"/>
                </a:moveTo>
                <a:cubicBezTo>
                  <a:pt x="49" y="82"/>
                  <a:pt x="49" y="82"/>
                  <a:pt x="49" y="82"/>
                </a:cubicBezTo>
                <a:cubicBezTo>
                  <a:pt x="51" y="82"/>
                  <a:pt x="53" y="83"/>
                  <a:pt x="53" y="85"/>
                </a:cubicBezTo>
                <a:cubicBezTo>
                  <a:pt x="53" y="89"/>
                  <a:pt x="53" y="89"/>
                  <a:pt x="53" y="89"/>
                </a:cubicBezTo>
                <a:cubicBezTo>
                  <a:pt x="9" y="89"/>
                  <a:pt x="9" y="89"/>
                  <a:pt x="9" y="89"/>
                </a:cubicBezTo>
                <a:cubicBezTo>
                  <a:pt x="9" y="85"/>
                  <a:pt x="9" y="85"/>
                  <a:pt x="9" y="85"/>
                </a:cubicBezTo>
                <a:cubicBezTo>
                  <a:pt x="10" y="83"/>
                  <a:pt x="12" y="82"/>
                  <a:pt x="14" y="8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9" name="Slide Number Placeholder 5"/>
          <p:cNvSpPr>
            <a:spLocks noGrp="1"/>
          </p:cNvSpPr>
          <p:nvPr>
            <p:ph type="sldNum" sz="quarter" idx="17"/>
          </p:nvPr>
        </p:nvSpPr>
        <p:spPr>
          <a:xfrm>
            <a:off x="511175" y="6594835"/>
            <a:ext cx="91372" cy="215444"/>
          </a:xfrm>
        </p:spPr>
        <p:txBody>
          <a:bodyPr/>
          <a:lstStyle/>
          <a:p>
            <a:pPr algn="l"/>
            <a:r>
              <a:rPr lang="en-US" sz="1400" b="1" dirty="0" smtClean="0">
                <a:solidFill>
                  <a:schemeClr val="accent3"/>
                </a:solidFill>
                <a:latin typeface="Calibri" panose="020F0502020204030204" pitchFamily="34" charset="0"/>
              </a:rPr>
              <a:t>3</a:t>
            </a:r>
            <a:endParaRPr lang="en-US" sz="1400" b="1" dirty="0">
              <a:solidFill>
                <a:schemeClr val="accent3"/>
              </a:solidFill>
              <a:latin typeface="Calibri" panose="020F0502020204030204" pitchFamily="34" charset="0"/>
            </a:endParaRPr>
          </a:p>
        </p:txBody>
      </p:sp>
    </p:spTree>
    <p:extLst>
      <p:ext uri="{BB962C8B-B14F-4D97-AF65-F5344CB8AC3E}">
        <p14:creationId xmlns:p14="http://schemas.microsoft.com/office/powerpoint/2010/main" val="2444203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rot="16200000">
            <a:off x="6089646" y="461454"/>
            <a:ext cx="360000" cy="1150144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5" name="Footer Placeholder 4"/>
          <p:cNvSpPr>
            <a:spLocks noGrp="1"/>
          </p:cNvSpPr>
          <p:nvPr>
            <p:ph type="ftr" sz="quarter" idx="16"/>
          </p:nvPr>
        </p:nvSpPr>
        <p:spPr>
          <a:xfrm>
            <a:off x="791358" y="6629427"/>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 name="Slide Number Placeholder 5"/>
          <p:cNvSpPr>
            <a:spLocks noGrp="1"/>
          </p:cNvSpPr>
          <p:nvPr>
            <p:ph type="sldNum" sz="quarter" idx="17"/>
          </p:nvPr>
        </p:nvSpPr>
        <p:spPr>
          <a:xfrm>
            <a:off x="511175" y="6583260"/>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4</a:t>
            </a:fld>
            <a:endParaRPr lang="en-US" sz="1400" b="1" dirty="0">
              <a:solidFill>
                <a:schemeClr val="accent3"/>
              </a:solidFill>
              <a:latin typeface="Calibri" panose="020F0502020204030204" pitchFamily="34" charset="0"/>
            </a:endParaRPr>
          </a:p>
        </p:txBody>
      </p:sp>
      <p:sp>
        <p:nvSpPr>
          <p:cNvPr id="7" name="Rectangle 6"/>
          <p:cNvSpPr/>
          <p:nvPr/>
        </p:nvSpPr>
        <p:spPr>
          <a:xfrm rot="16200000">
            <a:off x="6084964" y="-10839"/>
            <a:ext cx="360000" cy="1150144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0" name="Rectangle 9"/>
          <p:cNvSpPr/>
          <p:nvPr/>
        </p:nvSpPr>
        <p:spPr>
          <a:xfrm rot="16200000">
            <a:off x="6092516" y="-3164443"/>
            <a:ext cx="360000" cy="115014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1" name="Rectangle 10"/>
          <p:cNvSpPr/>
          <p:nvPr/>
        </p:nvSpPr>
        <p:spPr>
          <a:xfrm rot="16200000">
            <a:off x="6092516" y="-1427715"/>
            <a:ext cx="360000" cy="1150144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2" name="Rectangle 11"/>
          <p:cNvSpPr/>
          <p:nvPr/>
        </p:nvSpPr>
        <p:spPr>
          <a:xfrm rot="16200000">
            <a:off x="6093508" y="-955423"/>
            <a:ext cx="360000" cy="1150144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3" name="Rectangle 12"/>
          <p:cNvSpPr/>
          <p:nvPr/>
        </p:nvSpPr>
        <p:spPr>
          <a:xfrm rot="16200000">
            <a:off x="6092515" y="-2202299"/>
            <a:ext cx="360000" cy="115014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4" name="Rectangle 13"/>
          <p:cNvSpPr/>
          <p:nvPr/>
        </p:nvSpPr>
        <p:spPr>
          <a:xfrm rot="16200000">
            <a:off x="6092515" y="-483131"/>
            <a:ext cx="360000" cy="1150144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5" name="Rectangle 14"/>
          <p:cNvSpPr/>
          <p:nvPr/>
        </p:nvSpPr>
        <p:spPr>
          <a:xfrm rot="16200000">
            <a:off x="6092513" y="-2683371"/>
            <a:ext cx="360000" cy="11501441"/>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16" name="TextBox 15"/>
          <p:cNvSpPr txBox="1"/>
          <p:nvPr/>
        </p:nvSpPr>
        <p:spPr>
          <a:xfrm>
            <a:off x="663173" y="3460431"/>
            <a:ext cx="3780000" cy="153888"/>
          </a:xfrm>
          <a:prstGeom prst="rect">
            <a:avLst/>
          </a:prstGeom>
          <a:noFill/>
        </p:spPr>
        <p:txBody>
          <a:bodyPr wrap="square" lIns="0" tIns="0" rIns="0" bIns="0" rtlCol="0" anchor="ctr">
            <a:spAutoFit/>
          </a:bodyPr>
          <a:lstStyle/>
          <a:p>
            <a:pPr>
              <a:spcBef>
                <a:spcPts val="600"/>
              </a:spcBef>
              <a:buClr>
                <a:schemeClr val="tx2"/>
              </a:buClr>
            </a:pP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Ecological footprint, sustainability (“planet”) </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Box 16"/>
          <p:cNvSpPr txBox="1"/>
          <p:nvPr/>
        </p:nvSpPr>
        <p:spPr>
          <a:xfrm>
            <a:off x="663173" y="5192782"/>
            <a:ext cx="3480564" cy="153888"/>
          </a:xfrm>
          <a:prstGeom prst="rect">
            <a:avLst/>
          </a:prstGeom>
          <a:noFill/>
        </p:spPr>
        <p:txBody>
          <a:bodyPr wrap="square" lIns="0" tIns="0" rIns="0" bIns="0" rtlCol="0" anchor="ctr">
            <a:spAutoFit/>
          </a:bodyPr>
          <a:lstStyle/>
          <a:p>
            <a:pPr>
              <a:spcBef>
                <a:spcPts val="600"/>
              </a:spcBef>
              <a:buClr>
                <a:schemeClr val="tx2"/>
              </a:buClr>
            </a:pPr>
            <a:r>
              <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rPr>
              <a:t>Social cohesion, </a:t>
            </a: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inclusiveness, solidarity</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17"/>
          <p:cNvSpPr txBox="1"/>
          <p:nvPr/>
        </p:nvSpPr>
        <p:spPr>
          <a:xfrm>
            <a:off x="663173" y="2968069"/>
            <a:ext cx="3780000" cy="153888"/>
          </a:xfrm>
          <a:prstGeom prst="rect">
            <a:avLst/>
          </a:prstGeom>
          <a:noFill/>
        </p:spPr>
        <p:txBody>
          <a:bodyPr wrap="square" lIns="0" tIns="0" rIns="0" bIns="0" rtlCol="0" anchor="ctr">
            <a:spAutoFit/>
          </a:bodyPr>
          <a:lstStyle/>
          <a:p>
            <a:pPr>
              <a:spcBef>
                <a:spcPts val="600"/>
              </a:spcBef>
              <a:buClr>
                <a:schemeClr val="tx2"/>
              </a:buClr>
            </a:pPr>
            <a:r>
              <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rPr>
              <a:t>Quality of </a:t>
            </a: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life, a good city to live in</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p:cNvSpPr txBox="1"/>
          <p:nvPr/>
        </p:nvSpPr>
        <p:spPr>
          <a:xfrm>
            <a:off x="663173" y="4168422"/>
            <a:ext cx="3780000" cy="307777"/>
          </a:xfrm>
          <a:prstGeom prst="rect">
            <a:avLst/>
          </a:prstGeom>
          <a:noFill/>
        </p:spPr>
        <p:txBody>
          <a:bodyPr wrap="square" lIns="0" tIns="0" rIns="0" bIns="0" rtlCol="0" anchor="ctr">
            <a:spAutoFit/>
          </a:bodyPr>
          <a:lstStyle/>
          <a:p>
            <a:pPr>
              <a:spcBef>
                <a:spcPts val="600"/>
              </a:spcBef>
              <a:buClr>
                <a:schemeClr val="tx2"/>
              </a:buClr>
            </a:pP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ntrolled transition of the labor market due to automation</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p:cNvSpPr txBox="1"/>
          <p:nvPr/>
        </p:nvSpPr>
        <p:spPr>
          <a:xfrm>
            <a:off x="663173" y="5665170"/>
            <a:ext cx="3780000" cy="153888"/>
          </a:xfrm>
          <a:prstGeom prst="rect">
            <a:avLst/>
          </a:prstGeom>
          <a:noFill/>
        </p:spPr>
        <p:txBody>
          <a:bodyPr wrap="square" lIns="0" tIns="0" rIns="0" bIns="0" rtlCol="0" anchor="ctr">
            <a:spAutoFit/>
          </a:bodyPr>
          <a:lstStyle/>
          <a:p>
            <a:pPr>
              <a:spcBef>
                <a:spcPts val="600"/>
              </a:spcBef>
              <a:buClr>
                <a:schemeClr val="tx2"/>
              </a:buClr>
            </a:pPr>
            <a:r>
              <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rPr>
              <a:t>Secure digital environment</a:t>
            </a: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rPr>
              <a:t>privacy</a:t>
            </a:r>
          </a:p>
        </p:txBody>
      </p:sp>
      <p:sp>
        <p:nvSpPr>
          <p:cNvPr id="33" name="Freeform 5"/>
          <p:cNvSpPr>
            <a:spLocks noChangeAspect="1" noEditPoints="1"/>
          </p:cNvSpPr>
          <p:nvPr/>
        </p:nvSpPr>
        <p:spPr bwMode="gray">
          <a:xfrm>
            <a:off x="161246" y="4209326"/>
            <a:ext cx="229655" cy="213925"/>
          </a:xfrm>
          <a:custGeom>
            <a:avLst/>
            <a:gdLst/>
            <a:ahLst/>
            <a:cxnLst>
              <a:cxn ang="0">
                <a:pos x="45" y="8"/>
              </a:cxn>
              <a:cxn ang="0">
                <a:pos x="30" y="8"/>
              </a:cxn>
              <a:cxn ang="0">
                <a:pos x="63" y="18"/>
              </a:cxn>
              <a:cxn ang="0">
                <a:pos x="63" y="3"/>
              </a:cxn>
              <a:cxn ang="0">
                <a:pos x="63" y="18"/>
              </a:cxn>
              <a:cxn ang="0">
                <a:pos x="19" y="16"/>
              </a:cxn>
              <a:cxn ang="0">
                <a:pos x="7" y="16"/>
              </a:cxn>
              <a:cxn ang="0">
                <a:pos x="88" y="21"/>
              </a:cxn>
              <a:cxn ang="0">
                <a:pos x="88" y="8"/>
              </a:cxn>
              <a:cxn ang="0">
                <a:pos x="88" y="21"/>
              </a:cxn>
              <a:cxn ang="0">
                <a:pos x="81" y="24"/>
              </a:cxn>
              <a:cxn ang="0">
                <a:pos x="71" y="21"/>
              </a:cxn>
              <a:cxn ang="0">
                <a:pos x="51" y="23"/>
              </a:cxn>
              <a:cxn ang="0">
                <a:pos x="30" y="20"/>
              </a:cxn>
              <a:cxn ang="0">
                <a:pos x="18" y="26"/>
              </a:cxn>
              <a:cxn ang="0">
                <a:pos x="0" y="34"/>
              </a:cxn>
              <a:cxn ang="0">
                <a:pos x="2" y="56"/>
              </a:cxn>
              <a:cxn ang="0">
                <a:pos x="4" y="32"/>
              </a:cxn>
              <a:cxn ang="0">
                <a:pos x="7" y="83"/>
              </a:cxn>
              <a:cxn ang="0">
                <a:pos x="15" y="88"/>
              </a:cxn>
              <a:cxn ang="0">
                <a:pos x="19" y="32"/>
              </a:cxn>
              <a:cxn ang="0">
                <a:pos x="22" y="54"/>
              </a:cxn>
              <a:cxn ang="0">
                <a:pos x="27" y="53"/>
              </a:cxn>
              <a:cxn ang="0">
                <a:pos x="30" y="29"/>
              </a:cxn>
              <a:cxn ang="0">
                <a:pos x="35" y="95"/>
              </a:cxn>
              <a:cxn ang="0">
                <a:pos x="46" y="87"/>
              </a:cxn>
              <a:cxn ang="0">
                <a:pos x="48" y="29"/>
              </a:cxn>
              <a:cxn ang="0">
                <a:pos x="51" y="56"/>
              </a:cxn>
              <a:cxn ang="0">
                <a:pos x="53" y="30"/>
              </a:cxn>
              <a:cxn ang="0">
                <a:pos x="55" y="87"/>
              </a:cxn>
              <a:cxn ang="0">
                <a:pos x="67" y="94"/>
              </a:cxn>
              <a:cxn ang="0">
                <a:pos x="72" y="30"/>
              </a:cxn>
              <a:cxn ang="0">
                <a:pos x="75" y="53"/>
              </a:cxn>
              <a:cxn ang="0">
                <a:pos x="79" y="54"/>
              </a:cxn>
              <a:cxn ang="0">
                <a:pos x="82" y="32"/>
              </a:cxn>
              <a:cxn ang="0">
                <a:pos x="85" y="86"/>
              </a:cxn>
              <a:cxn ang="0">
                <a:pos x="94" y="79"/>
              </a:cxn>
              <a:cxn ang="0">
                <a:pos x="97" y="32"/>
              </a:cxn>
              <a:cxn ang="0">
                <a:pos x="99" y="56"/>
              </a:cxn>
              <a:cxn ang="0">
                <a:pos x="102" y="33"/>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34" name="Freeform 39"/>
          <p:cNvSpPr>
            <a:spLocks noChangeAspect="1"/>
          </p:cNvSpPr>
          <p:nvPr/>
        </p:nvSpPr>
        <p:spPr bwMode="gray">
          <a:xfrm>
            <a:off x="7865285" y="1118340"/>
            <a:ext cx="548565" cy="253785"/>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5" name="Freeform 56"/>
          <p:cNvSpPr>
            <a:spLocks noChangeAspect="1" noEditPoints="1"/>
          </p:cNvSpPr>
          <p:nvPr/>
        </p:nvSpPr>
        <p:spPr bwMode="gray">
          <a:xfrm>
            <a:off x="6062634" y="1047725"/>
            <a:ext cx="187576" cy="395014"/>
          </a:xfrm>
          <a:custGeom>
            <a:avLst/>
            <a:gdLst/>
            <a:ahLst/>
            <a:cxnLst>
              <a:cxn ang="0">
                <a:pos x="41" y="9"/>
              </a:cxn>
              <a:cxn ang="0">
                <a:pos x="34" y="1"/>
              </a:cxn>
              <a:cxn ang="0">
                <a:pos x="34" y="1"/>
              </a:cxn>
              <a:cxn ang="0">
                <a:pos x="13" y="1"/>
              </a:cxn>
              <a:cxn ang="0">
                <a:pos x="6" y="9"/>
              </a:cxn>
              <a:cxn ang="0">
                <a:pos x="0" y="18"/>
              </a:cxn>
              <a:cxn ang="0">
                <a:pos x="0" y="86"/>
              </a:cxn>
              <a:cxn ang="0">
                <a:pos x="6" y="95"/>
              </a:cxn>
              <a:cxn ang="0">
                <a:pos x="13" y="100"/>
              </a:cxn>
              <a:cxn ang="0">
                <a:pos x="13" y="100"/>
              </a:cxn>
              <a:cxn ang="0">
                <a:pos x="33" y="100"/>
              </a:cxn>
              <a:cxn ang="0">
                <a:pos x="40" y="95"/>
              </a:cxn>
              <a:cxn ang="0">
                <a:pos x="47" y="86"/>
              </a:cxn>
              <a:cxn ang="0">
                <a:pos x="47" y="18"/>
              </a:cxn>
              <a:cxn ang="0">
                <a:pos x="41" y="9"/>
              </a:cxn>
              <a:cxn ang="0">
                <a:pos x="42" y="83"/>
              </a:cxn>
              <a:cxn ang="0">
                <a:pos x="36" y="91"/>
              </a:cxn>
              <a:cxn ang="0">
                <a:pos x="11" y="91"/>
              </a:cxn>
              <a:cxn ang="0">
                <a:pos x="4" y="84"/>
              </a:cxn>
              <a:cxn ang="0">
                <a:pos x="4" y="22"/>
              </a:cxn>
              <a:cxn ang="0">
                <a:pos x="11" y="14"/>
              </a:cxn>
              <a:cxn ang="0">
                <a:pos x="36" y="14"/>
              </a:cxn>
              <a:cxn ang="0">
                <a:pos x="42" y="22"/>
              </a:cxn>
              <a:cxn ang="0">
                <a:pos x="42" y="83"/>
              </a:cxn>
              <a:cxn ang="0">
                <a:pos x="24" y="43"/>
              </a:cxn>
              <a:cxn ang="0">
                <a:pos x="37" y="43"/>
              </a:cxn>
              <a:cxn ang="0">
                <a:pos x="37" y="23"/>
              </a:cxn>
              <a:cxn ang="0">
                <a:pos x="32" y="18"/>
              </a:cxn>
              <a:cxn ang="0">
                <a:pos x="14" y="18"/>
              </a:cxn>
              <a:cxn ang="0">
                <a:pos x="9" y="24"/>
              </a:cxn>
              <a:cxn ang="0">
                <a:pos x="9" y="50"/>
              </a:cxn>
              <a:cxn ang="0">
                <a:pos x="28" y="26"/>
              </a:cxn>
              <a:cxn ang="0">
                <a:pos x="24" y="43"/>
              </a:cxn>
              <a:cxn ang="0">
                <a:pos x="37" y="79"/>
              </a:cxn>
              <a:cxn ang="0">
                <a:pos x="37" y="48"/>
              </a:cxn>
              <a:cxn ang="0">
                <a:pos x="18" y="78"/>
              </a:cxn>
              <a:cxn ang="0">
                <a:pos x="24" y="52"/>
              </a:cxn>
              <a:cxn ang="0">
                <a:pos x="9" y="52"/>
              </a:cxn>
              <a:cxn ang="0">
                <a:pos x="9" y="80"/>
              </a:cxn>
              <a:cxn ang="0">
                <a:pos x="13" y="86"/>
              </a:cxn>
              <a:cxn ang="0">
                <a:pos x="34" y="86"/>
              </a:cxn>
              <a:cxn ang="0">
                <a:pos x="37" y="79"/>
              </a:cxn>
            </a:cxnLst>
            <a:rect l="0" t="0" r="r" b="b"/>
            <a:pathLst>
              <a:path w="47" h="100">
                <a:moveTo>
                  <a:pt x="41" y="9"/>
                </a:moveTo>
                <a:cubicBezTo>
                  <a:pt x="40" y="4"/>
                  <a:pt x="38" y="2"/>
                  <a:pt x="34" y="1"/>
                </a:cubicBezTo>
                <a:cubicBezTo>
                  <a:pt x="34" y="1"/>
                  <a:pt x="34" y="1"/>
                  <a:pt x="34" y="1"/>
                </a:cubicBezTo>
                <a:cubicBezTo>
                  <a:pt x="23" y="0"/>
                  <a:pt x="13" y="1"/>
                  <a:pt x="13" y="1"/>
                </a:cubicBezTo>
                <a:cubicBezTo>
                  <a:pt x="9" y="2"/>
                  <a:pt x="6" y="4"/>
                  <a:pt x="6" y="9"/>
                </a:cubicBezTo>
                <a:cubicBezTo>
                  <a:pt x="1" y="10"/>
                  <a:pt x="0" y="12"/>
                  <a:pt x="0" y="18"/>
                </a:cubicBezTo>
                <a:cubicBezTo>
                  <a:pt x="0" y="86"/>
                  <a:pt x="0" y="86"/>
                  <a:pt x="0" y="86"/>
                </a:cubicBezTo>
                <a:cubicBezTo>
                  <a:pt x="0" y="92"/>
                  <a:pt x="2" y="95"/>
                  <a:pt x="6" y="95"/>
                </a:cubicBezTo>
                <a:cubicBezTo>
                  <a:pt x="6" y="97"/>
                  <a:pt x="9" y="99"/>
                  <a:pt x="13" y="100"/>
                </a:cubicBezTo>
                <a:cubicBezTo>
                  <a:pt x="13" y="100"/>
                  <a:pt x="13" y="100"/>
                  <a:pt x="13" y="100"/>
                </a:cubicBezTo>
                <a:cubicBezTo>
                  <a:pt x="24" y="100"/>
                  <a:pt x="33" y="100"/>
                  <a:pt x="33" y="100"/>
                </a:cubicBezTo>
                <a:cubicBezTo>
                  <a:pt x="37" y="99"/>
                  <a:pt x="40" y="97"/>
                  <a:pt x="40" y="95"/>
                </a:cubicBezTo>
                <a:cubicBezTo>
                  <a:pt x="44" y="95"/>
                  <a:pt x="47" y="91"/>
                  <a:pt x="47" y="86"/>
                </a:cubicBezTo>
                <a:cubicBezTo>
                  <a:pt x="47" y="18"/>
                  <a:pt x="47" y="18"/>
                  <a:pt x="47" y="18"/>
                </a:cubicBezTo>
                <a:cubicBezTo>
                  <a:pt x="47" y="12"/>
                  <a:pt x="45" y="10"/>
                  <a:pt x="41" y="9"/>
                </a:cubicBezTo>
                <a:close/>
                <a:moveTo>
                  <a:pt x="42" y="83"/>
                </a:moveTo>
                <a:cubicBezTo>
                  <a:pt x="42" y="88"/>
                  <a:pt x="40" y="91"/>
                  <a:pt x="36" y="91"/>
                </a:cubicBezTo>
                <a:cubicBezTo>
                  <a:pt x="11" y="91"/>
                  <a:pt x="11" y="91"/>
                  <a:pt x="11" y="91"/>
                </a:cubicBezTo>
                <a:cubicBezTo>
                  <a:pt x="7" y="91"/>
                  <a:pt x="4" y="89"/>
                  <a:pt x="4" y="84"/>
                </a:cubicBezTo>
                <a:cubicBezTo>
                  <a:pt x="4" y="22"/>
                  <a:pt x="4" y="22"/>
                  <a:pt x="4" y="22"/>
                </a:cubicBezTo>
                <a:cubicBezTo>
                  <a:pt x="4" y="17"/>
                  <a:pt x="7" y="14"/>
                  <a:pt x="11" y="14"/>
                </a:cubicBezTo>
                <a:cubicBezTo>
                  <a:pt x="36" y="14"/>
                  <a:pt x="36" y="14"/>
                  <a:pt x="36" y="14"/>
                </a:cubicBezTo>
                <a:cubicBezTo>
                  <a:pt x="39" y="14"/>
                  <a:pt x="42" y="17"/>
                  <a:pt x="42" y="22"/>
                </a:cubicBezTo>
                <a:lnTo>
                  <a:pt x="42" y="83"/>
                </a:lnTo>
                <a:close/>
                <a:moveTo>
                  <a:pt x="24" y="43"/>
                </a:moveTo>
                <a:cubicBezTo>
                  <a:pt x="37" y="43"/>
                  <a:pt x="37" y="43"/>
                  <a:pt x="37" y="43"/>
                </a:cubicBezTo>
                <a:cubicBezTo>
                  <a:pt x="37" y="23"/>
                  <a:pt x="37" y="23"/>
                  <a:pt x="37" y="23"/>
                </a:cubicBezTo>
                <a:cubicBezTo>
                  <a:pt x="37" y="19"/>
                  <a:pt x="36" y="18"/>
                  <a:pt x="32" y="18"/>
                </a:cubicBezTo>
                <a:cubicBezTo>
                  <a:pt x="14" y="18"/>
                  <a:pt x="14" y="18"/>
                  <a:pt x="14" y="18"/>
                </a:cubicBezTo>
                <a:cubicBezTo>
                  <a:pt x="10" y="18"/>
                  <a:pt x="9" y="19"/>
                  <a:pt x="9" y="24"/>
                </a:cubicBezTo>
                <a:cubicBezTo>
                  <a:pt x="9" y="50"/>
                  <a:pt x="9" y="50"/>
                  <a:pt x="9" y="50"/>
                </a:cubicBezTo>
                <a:cubicBezTo>
                  <a:pt x="28" y="26"/>
                  <a:pt x="28" y="26"/>
                  <a:pt x="28" y="26"/>
                </a:cubicBezTo>
                <a:lnTo>
                  <a:pt x="24" y="43"/>
                </a:lnTo>
                <a:close/>
                <a:moveTo>
                  <a:pt x="37" y="79"/>
                </a:moveTo>
                <a:cubicBezTo>
                  <a:pt x="37" y="48"/>
                  <a:pt x="37" y="48"/>
                  <a:pt x="37" y="48"/>
                </a:cubicBezTo>
                <a:cubicBezTo>
                  <a:pt x="18" y="78"/>
                  <a:pt x="18" y="78"/>
                  <a:pt x="18" y="78"/>
                </a:cubicBezTo>
                <a:cubicBezTo>
                  <a:pt x="24" y="52"/>
                  <a:pt x="24" y="52"/>
                  <a:pt x="24" y="52"/>
                </a:cubicBezTo>
                <a:cubicBezTo>
                  <a:pt x="9" y="52"/>
                  <a:pt x="9" y="52"/>
                  <a:pt x="9" y="52"/>
                </a:cubicBezTo>
                <a:cubicBezTo>
                  <a:pt x="9" y="80"/>
                  <a:pt x="9" y="80"/>
                  <a:pt x="9" y="80"/>
                </a:cubicBezTo>
                <a:cubicBezTo>
                  <a:pt x="9" y="85"/>
                  <a:pt x="10" y="86"/>
                  <a:pt x="13" y="86"/>
                </a:cubicBezTo>
                <a:cubicBezTo>
                  <a:pt x="34" y="86"/>
                  <a:pt x="34" y="86"/>
                  <a:pt x="34" y="86"/>
                </a:cubicBezTo>
                <a:cubicBezTo>
                  <a:pt x="37" y="86"/>
                  <a:pt x="37" y="83"/>
                  <a:pt x="37" y="79"/>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6" name="Freeform 13"/>
          <p:cNvSpPr>
            <a:spLocks noChangeAspect="1" noEditPoints="1"/>
          </p:cNvSpPr>
          <p:nvPr/>
        </p:nvSpPr>
        <p:spPr bwMode="gray">
          <a:xfrm>
            <a:off x="8596070" y="1088318"/>
            <a:ext cx="470468" cy="313829"/>
          </a:xfrm>
          <a:custGeom>
            <a:avLst/>
            <a:gdLst/>
            <a:ahLst/>
            <a:cxnLst>
              <a:cxn ang="0">
                <a:pos x="114" y="29"/>
              </a:cxn>
              <a:cxn ang="0">
                <a:pos x="114" y="29"/>
              </a:cxn>
              <a:cxn ang="0">
                <a:pos x="110" y="29"/>
              </a:cxn>
              <a:cxn ang="0">
                <a:pos x="106" y="23"/>
              </a:cxn>
              <a:cxn ang="0">
                <a:pos x="107" y="7"/>
              </a:cxn>
              <a:cxn ang="0">
                <a:pos x="98" y="11"/>
              </a:cxn>
              <a:cxn ang="0">
                <a:pos x="98" y="1"/>
              </a:cxn>
              <a:cxn ang="0">
                <a:pos x="85" y="9"/>
              </a:cxn>
              <a:cxn ang="0">
                <a:pos x="85" y="9"/>
              </a:cxn>
              <a:cxn ang="0">
                <a:pos x="64" y="5"/>
              </a:cxn>
              <a:cxn ang="0">
                <a:pos x="18" y="28"/>
              </a:cxn>
              <a:cxn ang="0">
                <a:pos x="11" y="23"/>
              </a:cxn>
              <a:cxn ang="0">
                <a:pos x="20" y="18"/>
              </a:cxn>
              <a:cxn ang="0">
                <a:pos x="15" y="9"/>
              </a:cxn>
              <a:cxn ang="0">
                <a:pos x="6" y="13"/>
              </a:cxn>
              <a:cxn ang="0">
                <a:pos x="6" y="15"/>
              </a:cxn>
              <a:cxn ang="0">
                <a:pos x="2" y="6"/>
              </a:cxn>
              <a:cxn ang="0">
                <a:pos x="5" y="20"/>
              </a:cxn>
              <a:cxn ang="0">
                <a:pos x="16" y="36"/>
              </a:cxn>
              <a:cxn ang="0">
                <a:pos x="16" y="36"/>
              </a:cxn>
              <a:cxn ang="0">
                <a:pos x="16" y="39"/>
              </a:cxn>
              <a:cxn ang="0">
                <a:pos x="32" y="65"/>
              </a:cxn>
              <a:cxn ang="0">
                <a:pos x="37" y="79"/>
              </a:cxn>
              <a:cxn ang="0">
                <a:pos x="50" y="79"/>
              </a:cxn>
              <a:cxn ang="0">
                <a:pos x="51" y="73"/>
              </a:cxn>
              <a:cxn ang="0">
                <a:pos x="64" y="74"/>
              </a:cxn>
              <a:cxn ang="0">
                <a:pos x="75" y="73"/>
              </a:cxn>
              <a:cxn ang="0">
                <a:pos x="77" y="79"/>
              </a:cxn>
              <a:cxn ang="0">
                <a:pos x="90" y="79"/>
              </a:cxn>
              <a:cxn ang="0">
                <a:pos x="93" y="67"/>
              </a:cxn>
              <a:cxn ang="0">
                <a:pos x="93" y="67"/>
              </a:cxn>
              <a:cxn ang="0">
                <a:pos x="108" y="52"/>
              </a:cxn>
              <a:cxn ang="0">
                <a:pos x="114" y="52"/>
              </a:cxn>
              <a:cxn ang="0">
                <a:pos x="114" y="52"/>
              </a:cxn>
              <a:cxn ang="0">
                <a:pos x="119" y="41"/>
              </a:cxn>
              <a:cxn ang="0">
                <a:pos x="114" y="29"/>
              </a:cxn>
              <a:cxn ang="0">
                <a:pos x="9" y="16"/>
              </a:cxn>
              <a:cxn ang="0">
                <a:pos x="9" y="15"/>
              </a:cxn>
              <a:cxn ang="0">
                <a:pos x="14" y="13"/>
              </a:cxn>
              <a:cxn ang="0">
                <a:pos x="16" y="17"/>
              </a:cxn>
              <a:cxn ang="0">
                <a:pos x="12" y="19"/>
              </a:cxn>
              <a:cxn ang="0">
                <a:pos x="9" y="16"/>
              </a:cxn>
              <a:cxn ang="0">
                <a:pos x="74" y="14"/>
              </a:cxn>
              <a:cxn ang="0">
                <a:pos x="63" y="13"/>
              </a:cxn>
              <a:cxn ang="0">
                <a:pos x="53" y="14"/>
              </a:cxn>
              <a:cxn ang="0">
                <a:pos x="52" y="10"/>
              </a:cxn>
              <a:cxn ang="0">
                <a:pos x="62" y="9"/>
              </a:cxn>
              <a:cxn ang="0">
                <a:pos x="75" y="10"/>
              </a:cxn>
              <a:cxn ang="0">
                <a:pos x="74" y="14"/>
              </a:cxn>
              <a:cxn ang="0">
                <a:pos x="99" y="34"/>
              </a:cxn>
              <a:cxn ang="0">
                <a:pos x="95" y="30"/>
              </a:cxn>
              <a:cxn ang="0">
                <a:pos x="99" y="27"/>
              </a:cxn>
              <a:cxn ang="0">
                <a:pos x="102" y="30"/>
              </a:cxn>
              <a:cxn ang="0">
                <a:pos x="99" y="34"/>
              </a:cxn>
            </a:cxnLst>
            <a:rect l="0" t="0" r="r" b="b"/>
            <a:pathLst>
              <a:path w="119" h="79">
                <a:moveTo>
                  <a:pt x="114" y="29"/>
                </a:moveTo>
                <a:cubicBezTo>
                  <a:pt x="114" y="29"/>
                  <a:pt x="114" y="29"/>
                  <a:pt x="114" y="29"/>
                </a:cubicBezTo>
                <a:cubicBezTo>
                  <a:pt x="110" y="29"/>
                  <a:pt x="110" y="29"/>
                  <a:pt x="110" y="29"/>
                </a:cubicBezTo>
                <a:cubicBezTo>
                  <a:pt x="109" y="27"/>
                  <a:pt x="107" y="25"/>
                  <a:pt x="106" y="23"/>
                </a:cubicBezTo>
                <a:cubicBezTo>
                  <a:pt x="106" y="21"/>
                  <a:pt x="109" y="9"/>
                  <a:pt x="107" y="7"/>
                </a:cubicBezTo>
                <a:cubicBezTo>
                  <a:pt x="106" y="7"/>
                  <a:pt x="102" y="9"/>
                  <a:pt x="98" y="11"/>
                </a:cubicBezTo>
                <a:cubicBezTo>
                  <a:pt x="99" y="7"/>
                  <a:pt x="100" y="2"/>
                  <a:pt x="98" y="1"/>
                </a:cubicBezTo>
                <a:cubicBezTo>
                  <a:pt x="96" y="0"/>
                  <a:pt x="85" y="9"/>
                  <a:pt x="85" y="9"/>
                </a:cubicBezTo>
                <a:cubicBezTo>
                  <a:pt x="85" y="9"/>
                  <a:pt x="85" y="9"/>
                  <a:pt x="85" y="9"/>
                </a:cubicBezTo>
                <a:cubicBezTo>
                  <a:pt x="79" y="6"/>
                  <a:pt x="72" y="5"/>
                  <a:pt x="64" y="5"/>
                </a:cubicBezTo>
                <a:cubicBezTo>
                  <a:pt x="43" y="5"/>
                  <a:pt x="25" y="15"/>
                  <a:pt x="18" y="28"/>
                </a:cubicBezTo>
                <a:cubicBezTo>
                  <a:pt x="16" y="27"/>
                  <a:pt x="13" y="26"/>
                  <a:pt x="11" y="23"/>
                </a:cubicBezTo>
                <a:cubicBezTo>
                  <a:pt x="14" y="24"/>
                  <a:pt x="18" y="22"/>
                  <a:pt x="20" y="18"/>
                </a:cubicBezTo>
                <a:cubicBezTo>
                  <a:pt x="21" y="15"/>
                  <a:pt x="19" y="10"/>
                  <a:pt x="15" y="9"/>
                </a:cubicBezTo>
                <a:cubicBezTo>
                  <a:pt x="12" y="8"/>
                  <a:pt x="7" y="10"/>
                  <a:pt x="6" y="13"/>
                </a:cubicBezTo>
                <a:cubicBezTo>
                  <a:pt x="6" y="14"/>
                  <a:pt x="6" y="15"/>
                  <a:pt x="6" y="15"/>
                </a:cubicBezTo>
                <a:cubicBezTo>
                  <a:pt x="1" y="12"/>
                  <a:pt x="2" y="6"/>
                  <a:pt x="2" y="6"/>
                </a:cubicBezTo>
                <a:cubicBezTo>
                  <a:pt x="0" y="13"/>
                  <a:pt x="2" y="17"/>
                  <a:pt x="5" y="20"/>
                </a:cubicBezTo>
                <a:cubicBezTo>
                  <a:pt x="5" y="24"/>
                  <a:pt x="8" y="31"/>
                  <a:pt x="16" y="36"/>
                </a:cubicBezTo>
                <a:cubicBezTo>
                  <a:pt x="16" y="36"/>
                  <a:pt x="16" y="36"/>
                  <a:pt x="16" y="36"/>
                </a:cubicBezTo>
                <a:cubicBezTo>
                  <a:pt x="16" y="37"/>
                  <a:pt x="16" y="38"/>
                  <a:pt x="16" y="39"/>
                </a:cubicBezTo>
                <a:cubicBezTo>
                  <a:pt x="16" y="50"/>
                  <a:pt x="22" y="59"/>
                  <a:pt x="32" y="65"/>
                </a:cubicBezTo>
                <a:cubicBezTo>
                  <a:pt x="37" y="79"/>
                  <a:pt x="37" y="79"/>
                  <a:pt x="37" y="79"/>
                </a:cubicBezTo>
                <a:cubicBezTo>
                  <a:pt x="50" y="79"/>
                  <a:pt x="50" y="79"/>
                  <a:pt x="50" y="79"/>
                </a:cubicBezTo>
                <a:cubicBezTo>
                  <a:pt x="51" y="73"/>
                  <a:pt x="51" y="73"/>
                  <a:pt x="51" y="73"/>
                </a:cubicBezTo>
                <a:cubicBezTo>
                  <a:pt x="55" y="73"/>
                  <a:pt x="59" y="74"/>
                  <a:pt x="64" y="74"/>
                </a:cubicBezTo>
                <a:cubicBezTo>
                  <a:pt x="68" y="74"/>
                  <a:pt x="71" y="74"/>
                  <a:pt x="75" y="73"/>
                </a:cubicBezTo>
                <a:cubicBezTo>
                  <a:pt x="77" y="79"/>
                  <a:pt x="77" y="79"/>
                  <a:pt x="77" y="79"/>
                </a:cubicBezTo>
                <a:cubicBezTo>
                  <a:pt x="90" y="79"/>
                  <a:pt x="90" y="79"/>
                  <a:pt x="90" y="79"/>
                </a:cubicBezTo>
                <a:cubicBezTo>
                  <a:pt x="93" y="67"/>
                  <a:pt x="93" y="67"/>
                  <a:pt x="93" y="67"/>
                </a:cubicBezTo>
                <a:cubicBezTo>
                  <a:pt x="93" y="67"/>
                  <a:pt x="93" y="67"/>
                  <a:pt x="93" y="67"/>
                </a:cubicBezTo>
                <a:cubicBezTo>
                  <a:pt x="100" y="63"/>
                  <a:pt x="105" y="58"/>
                  <a:pt x="108" y="52"/>
                </a:cubicBezTo>
                <a:cubicBezTo>
                  <a:pt x="114" y="52"/>
                  <a:pt x="114" y="52"/>
                  <a:pt x="114" y="52"/>
                </a:cubicBezTo>
                <a:cubicBezTo>
                  <a:pt x="114" y="52"/>
                  <a:pt x="114" y="52"/>
                  <a:pt x="114" y="52"/>
                </a:cubicBezTo>
                <a:cubicBezTo>
                  <a:pt x="117" y="52"/>
                  <a:pt x="119" y="47"/>
                  <a:pt x="119" y="41"/>
                </a:cubicBezTo>
                <a:cubicBezTo>
                  <a:pt x="119" y="35"/>
                  <a:pt x="117" y="30"/>
                  <a:pt x="114" y="29"/>
                </a:cubicBezTo>
                <a:close/>
                <a:moveTo>
                  <a:pt x="9" y="16"/>
                </a:moveTo>
                <a:cubicBezTo>
                  <a:pt x="9" y="16"/>
                  <a:pt x="9" y="15"/>
                  <a:pt x="9" y="15"/>
                </a:cubicBezTo>
                <a:cubicBezTo>
                  <a:pt x="10" y="13"/>
                  <a:pt x="12" y="12"/>
                  <a:pt x="14" y="13"/>
                </a:cubicBezTo>
                <a:cubicBezTo>
                  <a:pt x="16" y="13"/>
                  <a:pt x="17" y="15"/>
                  <a:pt x="16" y="17"/>
                </a:cubicBezTo>
                <a:cubicBezTo>
                  <a:pt x="16" y="19"/>
                  <a:pt x="14" y="20"/>
                  <a:pt x="12" y="19"/>
                </a:cubicBezTo>
                <a:cubicBezTo>
                  <a:pt x="10" y="19"/>
                  <a:pt x="9" y="18"/>
                  <a:pt x="9" y="16"/>
                </a:cubicBezTo>
                <a:close/>
                <a:moveTo>
                  <a:pt x="74" y="14"/>
                </a:moveTo>
                <a:cubicBezTo>
                  <a:pt x="71" y="14"/>
                  <a:pt x="67" y="13"/>
                  <a:pt x="63" y="13"/>
                </a:cubicBezTo>
                <a:cubicBezTo>
                  <a:pt x="59" y="13"/>
                  <a:pt x="56" y="14"/>
                  <a:pt x="53" y="14"/>
                </a:cubicBezTo>
                <a:cubicBezTo>
                  <a:pt x="52" y="10"/>
                  <a:pt x="52" y="10"/>
                  <a:pt x="52" y="10"/>
                </a:cubicBezTo>
                <a:cubicBezTo>
                  <a:pt x="55" y="10"/>
                  <a:pt x="59" y="9"/>
                  <a:pt x="62" y="9"/>
                </a:cubicBezTo>
                <a:cubicBezTo>
                  <a:pt x="67" y="9"/>
                  <a:pt x="71" y="10"/>
                  <a:pt x="75" y="10"/>
                </a:cubicBezTo>
                <a:lnTo>
                  <a:pt x="74" y="14"/>
                </a:lnTo>
                <a:close/>
                <a:moveTo>
                  <a:pt x="99" y="34"/>
                </a:moveTo>
                <a:cubicBezTo>
                  <a:pt x="97" y="34"/>
                  <a:pt x="95" y="32"/>
                  <a:pt x="95" y="30"/>
                </a:cubicBezTo>
                <a:cubicBezTo>
                  <a:pt x="95" y="29"/>
                  <a:pt x="97" y="27"/>
                  <a:pt x="99" y="27"/>
                </a:cubicBezTo>
                <a:cubicBezTo>
                  <a:pt x="101" y="27"/>
                  <a:pt x="102" y="29"/>
                  <a:pt x="102" y="30"/>
                </a:cubicBezTo>
                <a:cubicBezTo>
                  <a:pt x="102" y="32"/>
                  <a:pt x="101" y="34"/>
                  <a:pt x="99" y="3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7" name="Freeform 30"/>
          <p:cNvSpPr>
            <a:spLocks noChangeAspect="1" noEditPoints="1"/>
          </p:cNvSpPr>
          <p:nvPr/>
        </p:nvSpPr>
        <p:spPr bwMode="gray">
          <a:xfrm>
            <a:off x="142932" y="5164436"/>
            <a:ext cx="258502" cy="272187"/>
          </a:xfrm>
          <a:custGeom>
            <a:avLst/>
            <a:gdLst/>
            <a:ahLst/>
            <a:cxnLst>
              <a:cxn ang="0">
                <a:pos x="87" y="5"/>
              </a:cxn>
              <a:cxn ang="0">
                <a:pos x="66" y="3"/>
              </a:cxn>
              <a:cxn ang="0">
                <a:pos x="62" y="7"/>
              </a:cxn>
              <a:cxn ang="0">
                <a:pos x="38" y="29"/>
              </a:cxn>
              <a:cxn ang="0">
                <a:pos x="36" y="55"/>
              </a:cxn>
              <a:cxn ang="0">
                <a:pos x="44" y="60"/>
              </a:cxn>
              <a:cxn ang="0">
                <a:pos x="47" y="50"/>
              </a:cxn>
              <a:cxn ang="0">
                <a:pos x="47" y="50"/>
              </a:cxn>
              <a:cxn ang="0">
                <a:pos x="45" y="47"/>
              </a:cxn>
              <a:cxn ang="0">
                <a:pos x="46" y="37"/>
              </a:cxn>
              <a:cxn ang="0">
                <a:pos x="72" y="13"/>
              </a:cxn>
              <a:cxn ang="0">
                <a:pos x="79" y="14"/>
              </a:cxn>
              <a:cxn ang="0">
                <a:pos x="79" y="14"/>
              </a:cxn>
              <a:cxn ang="0">
                <a:pos x="84" y="21"/>
              </a:cxn>
              <a:cxn ang="0">
                <a:pos x="69" y="38"/>
              </a:cxn>
              <a:cxn ang="0">
                <a:pos x="77" y="46"/>
              </a:cxn>
              <a:cxn ang="0">
                <a:pos x="93" y="30"/>
              </a:cxn>
              <a:cxn ang="0">
                <a:pos x="91" y="9"/>
              </a:cxn>
              <a:cxn ang="0">
                <a:pos x="51" y="37"/>
              </a:cxn>
              <a:cxn ang="0">
                <a:pos x="54" y="49"/>
              </a:cxn>
              <a:cxn ang="0">
                <a:pos x="53" y="62"/>
              </a:cxn>
              <a:cxn ang="0">
                <a:pos x="24" y="87"/>
              </a:cxn>
              <a:cxn ang="0">
                <a:pos x="16" y="86"/>
              </a:cxn>
              <a:cxn ang="0">
                <a:pos x="16" y="85"/>
              </a:cxn>
              <a:cxn ang="0">
                <a:pos x="13" y="82"/>
              </a:cxn>
              <a:cxn ang="0">
                <a:pos x="12" y="75"/>
              </a:cxn>
              <a:cxn ang="0">
                <a:pos x="29" y="52"/>
              </a:cxn>
              <a:cxn ang="0">
                <a:pos x="3" y="67"/>
              </a:cxn>
              <a:cxn ang="0">
                <a:pos x="0" y="77"/>
              </a:cxn>
              <a:cxn ang="0">
                <a:pos x="9" y="94"/>
              </a:cxn>
              <a:cxn ang="0">
                <a:pos x="21" y="100"/>
              </a:cxn>
              <a:cxn ang="0">
                <a:pos x="35" y="93"/>
              </a:cxn>
              <a:cxn ang="0">
                <a:pos x="61" y="70"/>
              </a:cxn>
              <a:cxn ang="0">
                <a:pos x="68" y="56"/>
              </a:cxn>
              <a:cxn ang="0">
                <a:pos x="59" y="37"/>
              </a:cxn>
            </a:cxnLst>
            <a:rect l="0" t="0" r="r" b="b"/>
            <a:pathLst>
              <a:path w="95" h="100">
                <a:moveTo>
                  <a:pt x="91" y="9"/>
                </a:moveTo>
                <a:cubicBezTo>
                  <a:pt x="89" y="7"/>
                  <a:pt x="87" y="6"/>
                  <a:pt x="87" y="5"/>
                </a:cubicBezTo>
                <a:cubicBezTo>
                  <a:pt x="83" y="2"/>
                  <a:pt x="79" y="0"/>
                  <a:pt x="75" y="0"/>
                </a:cubicBezTo>
                <a:cubicBezTo>
                  <a:pt x="71" y="0"/>
                  <a:pt x="68" y="2"/>
                  <a:pt x="66" y="3"/>
                </a:cubicBezTo>
                <a:cubicBezTo>
                  <a:pt x="64" y="5"/>
                  <a:pt x="62" y="7"/>
                  <a:pt x="62" y="7"/>
                </a:cubicBezTo>
                <a:cubicBezTo>
                  <a:pt x="62" y="7"/>
                  <a:pt x="62" y="7"/>
                  <a:pt x="62" y="7"/>
                </a:cubicBezTo>
                <a:cubicBezTo>
                  <a:pt x="38" y="29"/>
                  <a:pt x="38" y="29"/>
                  <a:pt x="38" y="29"/>
                </a:cubicBezTo>
                <a:cubicBezTo>
                  <a:pt x="38" y="29"/>
                  <a:pt x="38" y="29"/>
                  <a:pt x="38" y="29"/>
                </a:cubicBezTo>
                <a:cubicBezTo>
                  <a:pt x="34" y="33"/>
                  <a:pt x="32" y="38"/>
                  <a:pt x="32" y="43"/>
                </a:cubicBezTo>
                <a:cubicBezTo>
                  <a:pt x="32" y="48"/>
                  <a:pt x="34" y="52"/>
                  <a:pt x="36" y="55"/>
                </a:cubicBezTo>
                <a:cubicBezTo>
                  <a:pt x="38" y="57"/>
                  <a:pt x="40" y="59"/>
                  <a:pt x="40" y="59"/>
                </a:cubicBezTo>
                <a:cubicBezTo>
                  <a:pt x="41" y="60"/>
                  <a:pt x="43" y="60"/>
                  <a:pt x="44" y="60"/>
                </a:cubicBezTo>
                <a:cubicBezTo>
                  <a:pt x="45" y="60"/>
                  <a:pt x="47" y="59"/>
                  <a:pt x="48" y="58"/>
                </a:cubicBezTo>
                <a:cubicBezTo>
                  <a:pt x="50" y="55"/>
                  <a:pt x="50" y="52"/>
                  <a:pt x="47" y="50"/>
                </a:cubicBezTo>
                <a:cubicBezTo>
                  <a:pt x="47" y="50"/>
                  <a:pt x="47" y="50"/>
                  <a:pt x="47" y="50"/>
                </a:cubicBezTo>
                <a:cubicBezTo>
                  <a:pt x="47" y="50"/>
                  <a:pt x="47" y="50"/>
                  <a:pt x="47" y="50"/>
                </a:cubicBezTo>
                <a:cubicBezTo>
                  <a:pt x="47" y="50"/>
                  <a:pt x="47" y="50"/>
                  <a:pt x="47" y="50"/>
                </a:cubicBezTo>
                <a:cubicBezTo>
                  <a:pt x="47" y="49"/>
                  <a:pt x="46" y="49"/>
                  <a:pt x="45" y="47"/>
                </a:cubicBezTo>
                <a:cubicBezTo>
                  <a:pt x="44" y="46"/>
                  <a:pt x="43" y="44"/>
                  <a:pt x="43" y="43"/>
                </a:cubicBezTo>
                <a:cubicBezTo>
                  <a:pt x="43" y="41"/>
                  <a:pt x="44" y="40"/>
                  <a:pt x="46" y="37"/>
                </a:cubicBezTo>
                <a:cubicBezTo>
                  <a:pt x="69" y="15"/>
                  <a:pt x="69" y="15"/>
                  <a:pt x="69" y="15"/>
                </a:cubicBezTo>
                <a:cubicBezTo>
                  <a:pt x="70" y="14"/>
                  <a:pt x="71" y="13"/>
                  <a:pt x="72" y="13"/>
                </a:cubicBezTo>
                <a:cubicBezTo>
                  <a:pt x="73" y="12"/>
                  <a:pt x="74" y="12"/>
                  <a:pt x="75" y="12"/>
                </a:cubicBezTo>
                <a:cubicBezTo>
                  <a:pt x="76" y="12"/>
                  <a:pt x="77" y="12"/>
                  <a:pt x="79" y="14"/>
                </a:cubicBezTo>
                <a:cubicBezTo>
                  <a:pt x="79" y="14"/>
                  <a:pt x="79" y="14"/>
                  <a:pt x="79" y="14"/>
                </a:cubicBezTo>
                <a:cubicBezTo>
                  <a:pt x="79" y="14"/>
                  <a:pt x="79" y="14"/>
                  <a:pt x="79" y="14"/>
                </a:cubicBezTo>
                <a:cubicBezTo>
                  <a:pt x="80" y="14"/>
                  <a:pt x="81" y="15"/>
                  <a:pt x="82" y="17"/>
                </a:cubicBezTo>
                <a:cubicBezTo>
                  <a:pt x="83" y="18"/>
                  <a:pt x="84" y="20"/>
                  <a:pt x="84" y="21"/>
                </a:cubicBezTo>
                <a:cubicBezTo>
                  <a:pt x="84" y="22"/>
                  <a:pt x="84" y="22"/>
                  <a:pt x="84" y="23"/>
                </a:cubicBezTo>
                <a:cubicBezTo>
                  <a:pt x="69" y="38"/>
                  <a:pt x="69" y="38"/>
                  <a:pt x="69" y="38"/>
                </a:cubicBezTo>
                <a:cubicBezTo>
                  <a:pt x="66" y="40"/>
                  <a:pt x="66" y="43"/>
                  <a:pt x="69" y="46"/>
                </a:cubicBezTo>
                <a:cubicBezTo>
                  <a:pt x="71" y="48"/>
                  <a:pt x="74" y="48"/>
                  <a:pt x="77" y="46"/>
                </a:cubicBezTo>
                <a:cubicBezTo>
                  <a:pt x="92" y="30"/>
                  <a:pt x="92" y="30"/>
                  <a:pt x="92" y="30"/>
                </a:cubicBezTo>
                <a:cubicBezTo>
                  <a:pt x="93" y="30"/>
                  <a:pt x="93" y="30"/>
                  <a:pt x="93" y="30"/>
                </a:cubicBezTo>
                <a:cubicBezTo>
                  <a:pt x="94" y="27"/>
                  <a:pt x="95" y="24"/>
                  <a:pt x="95" y="21"/>
                </a:cubicBezTo>
                <a:cubicBezTo>
                  <a:pt x="95" y="16"/>
                  <a:pt x="93" y="12"/>
                  <a:pt x="91" y="9"/>
                </a:cubicBezTo>
                <a:close/>
                <a:moveTo>
                  <a:pt x="59" y="37"/>
                </a:moveTo>
                <a:cubicBezTo>
                  <a:pt x="57" y="35"/>
                  <a:pt x="53" y="35"/>
                  <a:pt x="51" y="37"/>
                </a:cubicBezTo>
                <a:cubicBezTo>
                  <a:pt x="49" y="40"/>
                  <a:pt x="49" y="43"/>
                  <a:pt x="51" y="45"/>
                </a:cubicBezTo>
                <a:cubicBezTo>
                  <a:pt x="51" y="46"/>
                  <a:pt x="53" y="47"/>
                  <a:pt x="54" y="49"/>
                </a:cubicBezTo>
                <a:cubicBezTo>
                  <a:pt x="55" y="51"/>
                  <a:pt x="56" y="54"/>
                  <a:pt x="56" y="56"/>
                </a:cubicBezTo>
                <a:cubicBezTo>
                  <a:pt x="56" y="58"/>
                  <a:pt x="56" y="60"/>
                  <a:pt x="53" y="62"/>
                </a:cubicBezTo>
                <a:cubicBezTo>
                  <a:pt x="28" y="84"/>
                  <a:pt x="28" y="84"/>
                  <a:pt x="28" y="84"/>
                </a:cubicBezTo>
                <a:cubicBezTo>
                  <a:pt x="27" y="85"/>
                  <a:pt x="26" y="86"/>
                  <a:pt x="24" y="87"/>
                </a:cubicBezTo>
                <a:cubicBezTo>
                  <a:pt x="23" y="88"/>
                  <a:pt x="22" y="88"/>
                  <a:pt x="21" y="88"/>
                </a:cubicBezTo>
                <a:cubicBezTo>
                  <a:pt x="20" y="88"/>
                  <a:pt x="19" y="88"/>
                  <a:pt x="16" y="86"/>
                </a:cubicBezTo>
                <a:cubicBezTo>
                  <a:pt x="16" y="85"/>
                  <a:pt x="16" y="85"/>
                  <a:pt x="16" y="85"/>
                </a:cubicBezTo>
                <a:cubicBezTo>
                  <a:pt x="16" y="85"/>
                  <a:pt x="16" y="85"/>
                  <a:pt x="16" y="85"/>
                </a:cubicBezTo>
                <a:cubicBezTo>
                  <a:pt x="16" y="85"/>
                  <a:pt x="16" y="85"/>
                  <a:pt x="16" y="85"/>
                </a:cubicBezTo>
                <a:cubicBezTo>
                  <a:pt x="16" y="85"/>
                  <a:pt x="14" y="84"/>
                  <a:pt x="13" y="82"/>
                </a:cubicBezTo>
                <a:cubicBezTo>
                  <a:pt x="12" y="81"/>
                  <a:pt x="11" y="79"/>
                  <a:pt x="11" y="77"/>
                </a:cubicBezTo>
                <a:cubicBezTo>
                  <a:pt x="11" y="77"/>
                  <a:pt x="11" y="76"/>
                  <a:pt x="12" y="75"/>
                </a:cubicBezTo>
                <a:cubicBezTo>
                  <a:pt x="28" y="60"/>
                  <a:pt x="28" y="60"/>
                  <a:pt x="28" y="60"/>
                </a:cubicBezTo>
                <a:cubicBezTo>
                  <a:pt x="31" y="58"/>
                  <a:pt x="31" y="54"/>
                  <a:pt x="29" y="52"/>
                </a:cubicBezTo>
                <a:cubicBezTo>
                  <a:pt x="27" y="49"/>
                  <a:pt x="23" y="49"/>
                  <a:pt x="21" y="51"/>
                </a:cubicBezTo>
                <a:cubicBezTo>
                  <a:pt x="3" y="67"/>
                  <a:pt x="3" y="67"/>
                  <a:pt x="3" y="67"/>
                </a:cubicBezTo>
                <a:cubicBezTo>
                  <a:pt x="3" y="68"/>
                  <a:pt x="3" y="68"/>
                  <a:pt x="3" y="68"/>
                </a:cubicBezTo>
                <a:cubicBezTo>
                  <a:pt x="1" y="71"/>
                  <a:pt x="0" y="74"/>
                  <a:pt x="0" y="77"/>
                </a:cubicBezTo>
                <a:cubicBezTo>
                  <a:pt x="0" y="83"/>
                  <a:pt x="2" y="87"/>
                  <a:pt x="4" y="90"/>
                </a:cubicBezTo>
                <a:cubicBezTo>
                  <a:pt x="6" y="92"/>
                  <a:pt x="8" y="93"/>
                  <a:pt x="9" y="94"/>
                </a:cubicBezTo>
                <a:cubicBezTo>
                  <a:pt x="12" y="98"/>
                  <a:pt x="17" y="100"/>
                  <a:pt x="21" y="100"/>
                </a:cubicBezTo>
                <a:cubicBezTo>
                  <a:pt x="21" y="100"/>
                  <a:pt x="21" y="100"/>
                  <a:pt x="21" y="100"/>
                </a:cubicBezTo>
                <a:cubicBezTo>
                  <a:pt x="25" y="100"/>
                  <a:pt x="28" y="98"/>
                  <a:pt x="31" y="97"/>
                </a:cubicBezTo>
                <a:cubicBezTo>
                  <a:pt x="33" y="95"/>
                  <a:pt x="35" y="93"/>
                  <a:pt x="35" y="93"/>
                </a:cubicBezTo>
                <a:cubicBezTo>
                  <a:pt x="35" y="93"/>
                  <a:pt x="35" y="93"/>
                  <a:pt x="35" y="93"/>
                </a:cubicBezTo>
                <a:cubicBezTo>
                  <a:pt x="61" y="70"/>
                  <a:pt x="61" y="70"/>
                  <a:pt x="61" y="70"/>
                </a:cubicBezTo>
                <a:cubicBezTo>
                  <a:pt x="61" y="70"/>
                  <a:pt x="61" y="70"/>
                  <a:pt x="61" y="70"/>
                </a:cubicBezTo>
                <a:cubicBezTo>
                  <a:pt x="66" y="66"/>
                  <a:pt x="68" y="61"/>
                  <a:pt x="68" y="56"/>
                </a:cubicBezTo>
                <a:cubicBezTo>
                  <a:pt x="68" y="50"/>
                  <a:pt x="65" y="46"/>
                  <a:pt x="63" y="43"/>
                </a:cubicBezTo>
                <a:cubicBezTo>
                  <a:pt x="61" y="39"/>
                  <a:pt x="59" y="38"/>
                  <a:pt x="59" y="37"/>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38" name="Freeform 26"/>
          <p:cNvSpPr>
            <a:spLocks noChangeAspect="1" noEditPoints="1"/>
          </p:cNvSpPr>
          <p:nvPr/>
        </p:nvSpPr>
        <p:spPr bwMode="gray">
          <a:xfrm>
            <a:off x="7385648" y="1017369"/>
            <a:ext cx="241109" cy="455727"/>
          </a:xfrm>
          <a:custGeom>
            <a:avLst/>
            <a:gdLst/>
            <a:ahLst/>
            <a:cxnLst>
              <a:cxn ang="0">
                <a:pos x="46" y="91"/>
              </a:cxn>
              <a:cxn ang="0">
                <a:pos x="42" y="99"/>
              </a:cxn>
              <a:cxn ang="0">
                <a:pos x="28" y="95"/>
              </a:cxn>
              <a:cxn ang="0">
                <a:pos x="41" y="89"/>
              </a:cxn>
              <a:cxn ang="0">
                <a:pos x="47" y="86"/>
              </a:cxn>
              <a:cxn ang="0">
                <a:pos x="62" y="58"/>
              </a:cxn>
              <a:cxn ang="0">
                <a:pos x="48" y="30"/>
              </a:cxn>
              <a:cxn ang="0">
                <a:pos x="42" y="36"/>
              </a:cxn>
              <a:cxn ang="0">
                <a:pos x="29" y="32"/>
              </a:cxn>
              <a:cxn ang="0">
                <a:pos x="54" y="20"/>
              </a:cxn>
              <a:cxn ang="0">
                <a:pos x="54" y="0"/>
              </a:cxn>
              <a:cxn ang="0">
                <a:pos x="4" y="0"/>
              </a:cxn>
              <a:cxn ang="0">
                <a:pos x="0" y="0"/>
              </a:cxn>
              <a:cxn ang="0">
                <a:pos x="14" y="25"/>
              </a:cxn>
              <a:cxn ang="0">
                <a:pos x="25" y="21"/>
              </a:cxn>
              <a:cxn ang="0">
                <a:pos x="41" y="19"/>
              </a:cxn>
              <a:cxn ang="0">
                <a:pos x="34" y="23"/>
              </a:cxn>
              <a:cxn ang="0">
                <a:pos x="8" y="35"/>
              </a:cxn>
              <a:cxn ang="0">
                <a:pos x="8" y="81"/>
              </a:cxn>
              <a:cxn ang="0">
                <a:pos x="26" y="82"/>
              </a:cxn>
              <a:cxn ang="0">
                <a:pos x="42" y="79"/>
              </a:cxn>
              <a:cxn ang="0">
                <a:pos x="20" y="89"/>
              </a:cxn>
              <a:cxn ang="0">
                <a:pos x="20" y="89"/>
              </a:cxn>
              <a:cxn ang="0">
                <a:pos x="9" y="97"/>
              </a:cxn>
              <a:cxn ang="0">
                <a:pos x="8" y="118"/>
              </a:cxn>
              <a:cxn ang="0">
                <a:pos x="56" y="118"/>
              </a:cxn>
              <a:cxn ang="0">
                <a:pos x="62" y="118"/>
              </a:cxn>
              <a:cxn ang="0">
                <a:pos x="13" y="12"/>
              </a:cxn>
              <a:cxn ang="0">
                <a:pos x="52" y="7"/>
              </a:cxn>
              <a:cxn ang="0">
                <a:pos x="13" y="12"/>
              </a:cxn>
              <a:cxn ang="0">
                <a:pos x="50" y="44"/>
              </a:cxn>
              <a:cxn ang="0">
                <a:pos x="10" y="48"/>
              </a:cxn>
              <a:cxn ang="0">
                <a:pos x="8" y="60"/>
              </a:cxn>
              <a:cxn ang="0">
                <a:pos x="8" y="55"/>
              </a:cxn>
              <a:cxn ang="0">
                <a:pos x="54" y="58"/>
              </a:cxn>
              <a:cxn ang="0">
                <a:pos x="8" y="60"/>
              </a:cxn>
              <a:cxn ang="0">
                <a:pos x="10" y="67"/>
              </a:cxn>
              <a:cxn ang="0">
                <a:pos x="50" y="72"/>
              </a:cxn>
              <a:cxn ang="0">
                <a:pos x="10" y="111"/>
              </a:cxn>
              <a:cxn ang="0">
                <a:pos x="50" y="106"/>
              </a:cxn>
              <a:cxn ang="0">
                <a:pos x="10" y="111"/>
              </a:cxn>
            </a:cxnLst>
            <a:rect l="0" t="0" r="r" b="b"/>
            <a:pathLst>
              <a:path w="62" h="118">
                <a:moveTo>
                  <a:pt x="54" y="97"/>
                </a:moveTo>
                <a:cubicBezTo>
                  <a:pt x="51" y="95"/>
                  <a:pt x="50" y="94"/>
                  <a:pt x="46" y="91"/>
                </a:cubicBezTo>
                <a:cubicBezTo>
                  <a:pt x="42" y="94"/>
                  <a:pt x="39" y="95"/>
                  <a:pt x="36" y="96"/>
                </a:cubicBezTo>
                <a:cubicBezTo>
                  <a:pt x="39" y="97"/>
                  <a:pt x="40" y="97"/>
                  <a:pt x="42" y="99"/>
                </a:cubicBezTo>
                <a:cubicBezTo>
                  <a:pt x="20" y="99"/>
                  <a:pt x="20" y="99"/>
                  <a:pt x="20" y="99"/>
                </a:cubicBezTo>
                <a:cubicBezTo>
                  <a:pt x="22" y="97"/>
                  <a:pt x="25" y="96"/>
                  <a:pt x="28" y="95"/>
                </a:cubicBezTo>
                <a:cubicBezTo>
                  <a:pt x="33" y="93"/>
                  <a:pt x="36" y="92"/>
                  <a:pt x="41" y="89"/>
                </a:cubicBezTo>
                <a:cubicBezTo>
                  <a:pt x="41" y="89"/>
                  <a:pt x="41" y="89"/>
                  <a:pt x="41" y="89"/>
                </a:cubicBezTo>
                <a:cubicBezTo>
                  <a:pt x="42" y="89"/>
                  <a:pt x="42" y="89"/>
                  <a:pt x="43" y="88"/>
                </a:cubicBezTo>
                <a:cubicBezTo>
                  <a:pt x="44" y="88"/>
                  <a:pt x="45" y="87"/>
                  <a:pt x="47" y="86"/>
                </a:cubicBezTo>
                <a:cubicBezTo>
                  <a:pt x="49" y="84"/>
                  <a:pt x="52" y="83"/>
                  <a:pt x="53" y="81"/>
                </a:cubicBezTo>
                <a:cubicBezTo>
                  <a:pt x="59" y="75"/>
                  <a:pt x="62" y="67"/>
                  <a:pt x="62" y="58"/>
                </a:cubicBezTo>
                <a:cubicBezTo>
                  <a:pt x="62" y="49"/>
                  <a:pt x="59" y="41"/>
                  <a:pt x="53" y="35"/>
                </a:cubicBezTo>
                <a:cubicBezTo>
                  <a:pt x="53" y="34"/>
                  <a:pt x="51" y="32"/>
                  <a:pt x="48" y="30"/>
                </a:cubicBezTo>
                <a:cubicBezTo>
                  <a:pt x="43" y="32"/>
                  <a:pt x="41" y="33"/>
                  <a:pt x="37" y="34"/>
                </a:cubicBezTo>
                <a:cubicBezTo>
                  <a:pt x="40" y="35"/>
                  <a:pt x="42" y="36"/>
                  <a:pt x="42" y="36"/>
                </a:cubicBezTo>
                <a:cubicBezTo>
                  <a:pt x="20" y="36"/>
                  <a:pt x="20" y="36"/>
                  <a:pt x="20" y="36"/>
                </a:cubicBezTo>
                <a:cubicBezTo>
                  <a:pt x="23" y="35"/>
                  <a:pt x="26" y="34"/>
                  <a:pt x="29" y="32"/>
                </a:cubicBezTo>
                <a:cubicBezTo>
                  <a:pt x="35" y="30"/>
                  <a:pt x="38" y="30"/>
                  <a:pt x="44" y="27"/>
                </a:cubicBezTo>
                <a:cubicBezTo>
                  <a:pt x="48" y="25"/>
                  <a:pt x="51" y="23"/>
                  <a:pt x="54" y="20"/>
                </a:cubicBezTo>
                <a:cubicBezTo>
                  <a:pt x="59" y="15"/>
                  <a:pt x="62" y="8"/>
                  <a:pt x="62" y="0"/>
                </a:cubicBezTo>
                <a:cubicBezTo>
                  <a:pt x="54" y="0"/>
                  <a:pt x="54" y="0"/>
                  <a:pt x="54" y="0"/>
                </a:cubicBezTo>
                <a:cubicBezTo>
                  <a:pt x="54" y="0"/>
                  <a:pt x="54" y="0"/>
                  <a:pt x="54" y="0"/>
                </a:cubicBezTo>
                <a:cubicBezTo>
                  <a:pt x="4" y="0"/>
                  <a:pt x="4" y="0"/>
                  <a:pt x="4" y="0"/>
                </a:cubicBezTo>
                <a:cubicBezTo>
                  <a:pt x="4" y="0"/>
                  <a:pt x="4" y="0"/>
                  <a:pt x="4" y="0"/>
                </a:cubicBezTo>
                <a:cubicBezTo>
                  <a:pt x="0" y="0"/>
                  <a:pt x="0" y="0"/>
                  <a:pt x="0" y="0"/>
                </a:cubicBezTo>
                <a:cubicBezTo>
                  <a:pt x="1" y="8"/>
                  <a:pt x="4" y="15"/>
                  <a:pt x="9" y="20"/>
                </a:cubicBezTo>
                <a:cubicBezTo>
                  <a:pt x="11" y="23"/>
                  <a:pt x="11" y="23"/>
                  <a:pt x="14" y="25"/>
                </a:cubicBezTo>
                <a:cubicBezTo>
                  <a:pt x="14" y="25"/>
                  <a:pt x="14" y="25"/>
                  <a:pt x="14" y="25"/>
                </a:cubicBezTo>
                <a:cubicBezTo>
                  <a:pt x="17" y="24"/>
                  <a:pt x="25" y="21"/>
                  <a:pt x="25" y="21"/>
                </a:cubicBezTo>
                <a:cubicBezTo>
                  <a:pt x="23" y="20"/>
                  <a:pt x="23" y="20"/>
                  <a:pt x="21" y="19"/>
                </a:cubicBezTo>
                <a:cubicBezTo>
                  <a:pt x="41" y="19"/>
                  <a:pt x="41" y="19"/>
                  <a:pt x="41" y="19"/>
                </a:cubicBezTo>
                <a:cubicBezTo>
                  <a:pt x="39" y="20"/>
                  <a:pt x="36" y="22"/>
                  <a:pt x="34" y="23"/>
                </a:cubicBezTo>
                <a:cubicBezTo>
                  <a:pt x="34" y="23"/>
                  <a:pt x="34" y="23"/>
                  <a:pt x="34" y="23"/>
                </a:cubicBezTo>
                <a:cubicBezTo>
                  <a:pt x="22" y="26"/>
                  <a:pt x="20" y="27"/>
                  <a:pt x="15" y="30"/>
                </a:cubicBezTo>
                <a:cubicBezTo>
                  <a:pt x="13" y="31"/>
                  <a:pt x="10" y="33"/>
                  <a:pt x="8" y="35"/>
                </a:cubicBezTo>
                <a:cubicBezTo>
                  <a:pt x="3" y="41"/>
                  <a:pt x="0" y="49"/>
                  <a:pt x="0" y="58"/>
                </a:cubicBezTo>
                <a:cubicBezTo>
                  <a:pt x="0" y="67"/>
                  <a:pt x="3" y="75"/>
                  <a:pt x="8" y="81"/>
                </a:cubicBezTo>
                <a:cubicBezTo>
                  <a:pt x="11" y="84"/>
                  <a:pt x="12" y="85"/>
                  <a:pt x="16" y="87"/>
                </a:cubicBezTo>
                <a:cubicBezTo>
                  <a:pt x="19" y="85"/>
                  <a:pt x="21" y="84"/>
                  <a:pt x="26" y="82"/>
                </a:cubicBezTo>
                <a:cubicBezTo>
                  <a:pt x="22" y="81"/>
                  <a:pt x="22" y="81"/>
                  <a:pt x="20" y="79"/>
                </a:cubicBezTo>
                <a:cubicBezTo>
                  <a:pt x="42" y="79"/>
                  <a:pt x="42" y="79"/>
                  <a:pt x="42" y="79"/>
                </a:cubicBezTo>
                <a:cubicBezTo>
                  <a:pt x="40" y="81"/>
                  <a:pt x="37" y="82"/>
                  <a:pt x="34" y="83"/>
                </a:cubicBezTo>
                <a:cubicBezTo>
                  <a:pt x="27" y="86"/>
                  <a:pt x="24" y="88"/>
                  <a:pt x="20" y="89"/>
                </a:cubicBezTo>
                <a:cubicBezTo>
                  <a:pt x="20" y="89"/>
                  <a:pt x="20" y="89"/>
                  <a:pt x="20" y="89"/>
                </a:cubicBezTo>
                <a:cubicBezTo>
                  <a:pt x="20" y="89"/>
                  <a:pt x="20" y="89"/>
                  <a:pt x="20" y="89"/>
                </a:cubicBezTo>
                <a:cubicBezTo>
                  <a:pt x="18" y="90"/>
                  <a:pt x="17" y="91"/>
                  <a:pt x="15" y="92"/>
                </a:cubicBezTo>
                <a:cubicBezTo>
                  <a:pt x="12" y="94"/>
                  <a:pt x="10" y="95"/>
                  <a:pt x="9" y="97"/>
                </a:cubicBezTo>
                <a:cubicBezTo>
                  <a:pt x="4" y="103"/>
                  <a:pt x="1" y="110"/>
                  <a:pt x="0" y="118"/>
                </a:cubicBezTo>
                <a:cubicBezTo>
                  <a:pt x="8" y="118"/>
                  <a:pt x="8" y="118"/>
                  <a:pt x="8" y="118"/>
                </a:cubicBezTo>
                <a:cubicBezTo>
                  <a:pt x="8" y="118"/>
                  <a:pt x="8" y="118"/>
                  <a:pt x="8" y="118"/>
                </a:cubicBezTo>
                <a:cubicBezTo>
                  <a:pt x="56" y="118"/>
                  <a:pt x="56" y="118"/>
                  <a:pt x="56" y="118"/>
                </a:cubicBezTo>
                <a:cubicBezTo>
                  <a:pt x="56" y="118"/>
                  <a:pt x="56" y="118"/>
                  <a:pt x="56" y="118"/>
                </a:cubicBezTo>
                <a:cubicBezTo>
                  <a:pt x="62" y="118"/>
                  <a:pt x="62" y="118"/>
                  <a:pt x="62" y="118"/>
                </a:cubicBezTo>
                <a:cubicBezTo>
                  <a:pt x="62" y="110"/>
                  <a:pt x="59" y="103"/>
                  <a:pt x="54" y="97"/>
                </a:cubicBezTo>
                <a:close/>
                <a:moveTo>
                  <a:pt x="13" y="12"/>
                </a:moveTo>
                <a:cubicBezTo>
                  <a:pt x="12" y="10"/>
                  <a:pt x="11" y="9"/>
                  <a:pt x="10" y="7"/>
                </a:cubicBezTo>
                <a:cubicBezTo>
                  <a:pt x="52" y="7"/>
                  <a:pt x="52" y="7"/>
                  <a:pt x="52" y="7"/>
                </a:cubicBezTo>
                <a:cubicBezTo>
                  <a:pt x="51" y="9"/>
                  <a:pt x="51" y="10"/>
                  <a:pt x="50" y="12"/>
                </a:cubicBezTo>
                <a:lnTo>
                  <a:pt x="13" y="12"/>
                </a:lnTo>
                <a:close/>
                <a:moveTo>
                  <a:pt x="12" y="44"/>
                </a:moveTo>
                <a:cubicBezTo>
                  <a:pt x="50" y="44"/>
                  <a:pt x="50" y="44"/>
                  <a:pt x="50" y="44"/>
                </a:cubicBezTo>
                <a:cubicBezTo>
                  <a:pt x="51" y="45"/>
                  <a:pt x="51" y="47"/>
                  <a:pt x="52" y="48"/>
                </a:cubicBezTo>
                <a:cubicBezTo>
                  <a:pt x="10" y="48"/>
                  <a:pt x="10" y="48"/>
                  <a:pt x="10" y="48"/>
                </a:cubicBezTo>
                <a:cubicBezTo>
                  <a:pt x="10" y="47"/>
                  <a:pt x="11" y="45"/>
                  <a:pt x="12" y="44"/>
                </a:cubicBezTo>
                <a:close/>
                <a:moveTo>
                  <a:pt x="8" y="60"/>
                </a:moveTo>
                <a:cubicBezTo>
                  <a:pt x="8" y="59"/>
                  <a:pt x="8" y="59"/>
                  <a:pt x="8" y="58"/>
                </a:cubicBezTo>
                <a:cubicBezTo>
                  <a:pt x="8" y="57"/>
                  <a:pt x="8" y="56"/>
                  <a:pt x="8" y="55"/>
                </a:cubicBezTo>
                <a:cubicBezTo>
                  <a:pt x="54" y="55"/>
                  <a:pt x="54" y="55"/>
                  <a:pt x="54" y="55"/>
                </a:cubicBezTo>
                <a:cubicBezTo>
                  <a:pt x="54" y="56"/>
                  <a:pt x="54" y="57"/>
                  <a:pt x="54" y="58"/>
                </a:cubicBezTo>
                <a:cubicBezTo>
                  <a:pt x="54" y="59"/>
                  <a:pt x="54" y="59"/>
                  <a:pt x="54" y="60"/>
                </a:cubicBezTo>
                <a:lnTo>
                  <a:pt x="8" y="60"/>
                </a:lnTo>
                <a:close/>
                <a:moveTo>
                  <a:pt x="12" y="72"/>
                </a:moveTo>
                <a:cubicBezTo>
                  <a:pt x="11" y="71"/>
                  <a:pt x="10" y="69"/>
                  <a:pt x="10" y="67"/>
                </a:cubicBezTo>
                <a:cubicBezTo>
                  <a:pt x="52" y="67"/>
                  <a:pt x="52" y="67"/>
                  <a:pt x="52" y="67"/>
                </a:cubicBezTo>
                <a:cubicBezTo>
                  <a:pt x="51" y="69"/>
                  <a:pt x="51" y="71"/>
                  <a:pt x="50" y="72"/>
                </a:cubicBezTo>
                <a:lnTo>
                  <a:pt x="12" y="72"/>
                </a:lnTo>
                <a:close/>
                <a:moveTo>
                  <a:pt x="10" y="111"/>
                </a:moveTo>
                <a:cubicBezTo>
                  <a:pt x="11" y="109"/>
                  <a:pt x="11" y="107"/>
                  <a:pt x="12" y="106"/>
                </a:cubicBezTo>
                <a:cubicBezTo>
                  <a:pt x="50" y="106"/>
                  <a:pt x="50" y="106"/>
                  <a:pt x="50" y="106"/>
                </a:cubicBezTo>
                <a:cubicBezTo>
                  <a:pt x="51" y="107"/>
                  <a:pt x="52" y="109"/>
                  <a:pt x="52" y="111"/>
                </a:cubicBezTo>
                <a:lnTo>
                  <a:pt x="10" y="111"/>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9" name="Freeform 35"/>
          <p:cNvSpPr>
            <a:spLocks noChangeAspect="1" noEditPoints="1"/>
          </p:cNvSpPr>
          <p:nvPr/>
        </p:nvSpPr>
        <p:spPr bwMode="gray">
          <a:xfrm>
            <a:off x="11311680" y="1043448"/>
            <a:ext cx="435133" cy="403569"/>
          </a:xfrm>
          <a:custGeom>
            <a:avLst/>
            <a:gdLst/>
            <a:ahLst/>
            <a:cxnLst>
              <a:cxn ang="0">
                <a:pos x="18" y="34"/>
              </a:cxn>
              <a:cxn ang="0">
                <a:pos x="41" y="10"/>
              </a:cxn>
              <a:cxn ang="0">
                <a:pos x="56" y="25"/>
              </a:cxn>
              <a:cxn ang="0">
                <a:pos x="34" y="49"/>
              </a:cxn>
              <a:cxn ang="0">
                <a:pos x="18" y="34"/>
              </a:cxn>
              <a:cxn ang="0">
                <a:pos x="59" y="23"/>
              </a:cxn>
              <a:cxn ang="0">
                <a:pos x="63" y="22"/>
              </a:cxn>
              <a:cxn ang="0">
                <a:pos x="65" y="21"/>
              </a:cxn>
              <a:cxn ang="0">
                <a:pos x="65" y="17"/>
              </a:cxn>
              <a:cxn ang="0">
                <a:pos x="48" y="1"/>
              </a:cxn>
              <a:cxn ang="0">
                <a:pos x="44" y="1"/>
              </a:cxn>
              <a:cxn ang="0">
                <a:pos x="43" y="3"/>
              </a:cxn>
              <a:cxn ang="0">
                <a:pos x="43" y="7"/>
              </a:cxn>
              <a:cxn ang="0">
                <a:pos x="59" y="23"/>
              </a:cxn>
              <a:cxn ang="0">
                <a:pos x="26" y="58"/>
              </a:cxn>
              <a:cxn ang="0">
                <a:pos x="30" y="58"/>
              </a:cxn>
              <a:cxn ang="0">
                <a:pos x="32" y="56"/>
              </a:cxn>
              <a:cxn ang="0">
                <a:pos x="32" y="52"/>
              </a:cxn>
              <a:cxn ang="0">
                <a:pos x="15" y="36"/>
              </a:cxn>
              <a:cxn ang="0">
                <a:pos x="11" y="36"/>
              </a:cxn>
              <a:cxn ang="0">
                <a:pos x="10" y="38"/>
              </a:cxn>
              <a:cxn ang="0">
                <a:pos x="10" y="42"/>
              </a:cxn>
              <a:cxn ang="0">
                <a:pos x="26" y="58"/>
              </a:cxn>
              <a:cxn ang="0">
                <a:pos x="44" y="43"/>
              </a:cxn>
              <a:cxn ang="0">
                <a:pos x="98" y="93"/>
              </a:cxn>
              <a:cxn ang="0">
                <a:pos x="105" y="95"/>
              </a:cxn>
              <a:cxn ang="0">
                <a:pos x="107" y="92"/>
              </a:cxn>
              <a:cxn ang="0">
                <a:pos x="105" y="86"/>
              </a:cxn>
              <a:cxn ang="0">
                <a:pos x="51" y="35"/>
              </a:cxn>
              <a:cxn ang="0">
                <a:pos x="44" y="43"/>
              </a:cxn>
              <a:cxn ang="0">
                <a:pos x="63" y="93"/>
              </a:cxn>
              <a:cxn ang="0">
                <a:pos x="61" y="92"/>
              </a:cxn>
              <a:cxn ang="0">
                <a:pos x="1" y="92"/>
              </a:cxn>
              <a:cxn ang="0">
                <a:pos x="0" y="93"/>
              </a:cxn>
              <a:cxn ang="0">
                <a:pos x="0" y="98"/>
              </a:cxn>
              <a:cxn ang="0">
                <a:pos x="1" y="100"/>
              </a:cxn>
              <a:cxn ang="0">
                <a:pos x="61" y="100"/>
              </a:cxn>
              <a:cxn ang="0">
                <a:pos x="63" y="98"/>
              </a:cxn>
              <a:cxn ang="0">
                <a:pos x="63" y="93"/>
              </a:cxn>
              <a:cxn ang="0">
                <a:pos x="14" y="82"/>
              </a:cxn>
              <a:cxn ang="0">
                <a:pos x="49" y="82"/>
              </a:cxn>
              <a:cxn ang="0">
                <a:pos x="53" y="85"/>
              </a:cxn>
              <a:cxn ang="0">
                <a:pos x="53" y="89"/>
              </a:cxn>
              <a:cxn ang="0">
                <a:pos x="9" y="89"/>
              </a:cxn>
              <a:cxn ang="0">
                <a:pos x="9" y="85"/>
              </a:cxn>
              <a:cxn ang="0">
                <a:pos x="14" y="82"/>
              </a:cxn>
            </a:cxnLst>
            <a:rect l="0" t="0" r="r" b="b"/>
            <a:pathLst>
              <a:path w="108" h="100">
                <a:moveTo>
                  <a:pt x="18" y="34"/>
                </a:moveTo>
                <a:cubicBezTo>
                  <a:pt x="41" y="10"/>
                  <a:pt x="41" y="10"/>
                  <a:pt x="41" y="10"/>
                </a:cubicBezTo>
                <a:cubicBezTo>
                  <a:pt x="56" y="25"/>
                  <a:pt x="56" y="25"/>
                  <a:pt x="56" y="25"/>
                </a:cubicBezTo>
                <a:cubicBezTo>
                  <a:pt x="34" y="49"/>
                  <a:pt x="34" y="49"/>
                  <a:pt x="34" y="49"/>
                </a:cubicBezTo>
                <a:lnTo>
                  <a:pt x="18" y="34"/>
                </a:lnTo>
                <a:close/>
                <a:moveTo>
                  <a:pt x="59" y="23"/>
                </a:moveTo>
                <a:cubicBezTo>
                  <a:pt x="60" y="24"/>
                  <a:pt x="62" y="24"/>
                  <a:pt x="63" y="22"/>
                </a:cubicBezTo>
                <a:cubicBezTo>
                  <a:pt x="65" y="21"/>
                  <a:pt x="65" y="21"/>
                  <a:pt x="65" y="21"/>
                </a:cubicBezTo>
                <a:cubicBezTo>
                  <a:pt x="66" y="20"/>
                  <a:pt x="66" y="18"/>
                  <a:pt x="65" y="17"/>
                </a:cubicBezTo>
                <a:cubicBezTo>
                  <a:pt x="48" y="1"/>
                  <a:pt x="48" y="1"/>
                  <a:pt x="48" y="1"/>
                </a:cubicBezTo>
                <a:cubicBezTo>
                  <a:pt x="47" y="0"/>
                  <a:pt x="45" y="0"/>
                  <a:pt x="44" y="1"/>
                </a:cubicBezTo>
                <a:cubicBezTo>
                  <a:pt x="43" y="3"/>
                  <a:pt x="43" y="3"/>
                  <a:pt x="43" y="3"/>
                </a:cubicBezTo>
                <a:cubicBezTo>
                  <a:pt x="41" y="4"/>
                  <a:pt x="42" y="6"/>
                  <a:pt x="43" y="7"/>
                </a:cubicBezTo>
                <a:lnTo>
                  <a:pt x="59" y="23"/>
                </a:lnTo>
                <a:close/>
                <a:moveTo>
                  <a:pt x="26" y="58"/>
                </a:moveTo>
                <a:cubicBezTo>
                  <a:pt x="27" y="59"/>
                  <a:pt x="29" y="59"/>
                  <a:pt x="30" y="58"/>
                </a:cubicBezTo>
                <a:cubicBezTo>
                  <a:pt x="32" y="56"/>
                  <a:pt x="32" y="56"/>
                  <a:pt x="32" y="56"/>
                </a:cubicBezTo>
                <a:cubicBezTo>
                  <a:pt x="33" y="55"/>
                  <a:pt x="33" y="53"/>
                  <a:pt x="32" y="52"/>
                </a:cubicBezTo>
                <a:cubicBezTo>
                  <a:pt x="15" y="36"/>
                  <a:pt x="15" y="36"/>
                  <a:pt x="15" y="36"/>
                </a:cubicBezTo>
                <a:cubicBezTo>
                  <a:pt x="14" y="35"/>
                  <a:pt x="12" y="35"/>
                  <a:pt x="11" y="36"/>
                </a:cubicBezTo>
                <a:cubicBezTo>
                  <a:pt x="10" y="38"/>
                  <a:pt x="10" y="38"/>
                  <a:pt x="10" y="38"/>
                </a:cubicBezTo>
                <a:cubicBezTo>
                  <a:pt x="8" y="39"/>
                  <a:pt x="9" y="41"/>
                  <a:pt x="10" y="42"/>
                </a:cubicBezTo>
                <a:lnTo>
                  <a:pt x="26" y="58"/>
                </a:lnTo>
                <a:close/>
                <a:moveTo>
                  <a:pt x="44" y="43"/>
                </a:moveTo>
                <a:cubicBezTo>
                  <a:pt x="98" y="93"/>
                  <a:pt x="98" y="93"/>
                  <a:pt x="98" y="93"/>
                </a:cubicBezTo>
                <a:cubicBezTo>
                  <a:pt x="100" y="96"/>
                  <a:pt x="103" y="96"/>
                  <a:pt x="105" y="95"/>
                </a:cubicBezTo>
                <a:cubicBezTo>
                  <a:pt x="107" y="92"/>
                  <a:pt x="107" y="92"/>
                  <a:pt x="107" y="92"/>
                </a:cubicBezTo>
                <a:cubicBezTo>
                  <a:pt x="108" y="91"/>
                  <a:pt x="107" y="88"/>
                  <a:pt x="105" y="86"/>
                </a:cubicBezTo>
                <a:cubicBezTo>
                  <a:pt x="51" y="35"/>
                  <a:pt x="51" y="35"/>
                  <a:pt x="51" y="35"/>
                </a:cubicBezTo>
                <a:lnTo>
                  <a:pt x="44" y="43"/>
                </a:lnTo>
                <a:close/>
                <a:moveTo>
                  <a:pt x="63" y="93"/>
                </a:moveTo>
                <a:cubicBezTo>
                  <a:pt x="63" y="93"/>
                  <a:pt x="62" y="92"/>
                  <a:pt x="61" y="92"/>
                </a:cubicBezTo>
                <a:cubicBezTo>
                  <a:pt x="1" y="92"/>
                  <a:pt x="1" y="92"/>
                  <a:pt x="1" y="92"/>
                </a:cubicBezTo>
                <a:cubicBezTo>
                  <a:pt x="1" y="92"/>
                  <a:pt x="0" y="93"/>
                  <a:pt x="0" y="93"/>
                </a:cubicBezTo>
                <a:cubicBezTo>
                  <a:pt x="0" y="98"/>
                  <a:pt x="0" y="98"/>
                  <a:pt x="0" y="98"/>
                </a:cubicBezTo>
                <a:cubicBezTo>
                  <a:pt x="0" y="99"/>
                  <a:pt x="1" y="100"/>
                  <a:pt x="1" y="100"/>
                </a:cubicBezTo>
                <a:cubicBezTo>
                  <a:pt x="61" y="100"/>
                  <a:pt x="61" y="100"/>
                  <a:pt x="61" y="100"/>
                </a:cubicBezTo>
                <a:cubicBezTo>
                  <a:pt x="62" y="100"/>
                  <a:pt x="63" y="99"/>
                  <a:pt x="63" y="98"/>
                </a:cubicBezTo>
                <a:lnTo>
                  <a:pt x="63" y="93"/>
                </a:lnTo>
                <a:close/>
                <a:moveTo>
                  <a:pt x="14" y="82"/>
                </a:moveTo>
                <a:cubicBezTo>
                  <a:pt x="49" y="82"/>
                  <a:pt x="49" y="82"/>
                  <a:pt x="49" y="82"/>
                </a:cubicBezTo>
                <a:cubicBezTo>
                  <a:pt x="51" y="82"/>
                  <a:pt x="53" y="83"/>
                  <a:pt x="53" y="85"/>
                </a:cubicBezTo>
                <a:cubicBezTo>
                  <a:pt x="53" y="89"/>
                  <a:pt x="53" y="89"/>
                  <a:pt x="53" y="89"/>
                </a:cubicBezTo>
                <a:cubicBezTo>
                  <a:pt x="9" y="89"/>
                  <a:pt x="9" y="89"/>
                  <a:pt x="9" y="89"/>
                </a:cubicBezTo>
                <a:cubicBezTo>
                  <a:pt x="9" y="85"/>
                  <a:pt x="9" y="85"/>
                  <a:pt x="9" y="85"/>
                </a:cubicBezTo>
                <a:cubicBezTo>
                  <a:pt x="10" y="83"/>
                  <a:pt x="12" y="82"/>
                  <a:pt x="14" y="82"/>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0" name="Freeform 5"/>
          <p:cNvSpPr>
            <a:spLocks noChangeAspect="1" noEditPoints="1"/>
          </p:cNvSpPr>
          <p:nvPr/>
        </p:nvSpPr>
        <p:spPr bwMode="gray">
          <a:xfrm>
            <a:off x="166221" y="5623849"/>
            <a:ext cx="221819" cy="251123"/>
          </a:xfrm>
          <a:custGeom>
            <a:avLst/>
            <a:gdLst/>
            <a:ahLst/>
            <a:cxnLst>
              <a:cxn ang="0">
                <a:pos x="56" y="16"/>
              </a:cxn>
              <a:cxn ang="0">
                <a:pos x="38" y="9"/>
              </a:cxn>
              <a:cxn ang="0">
                <a:pos x="20" y="16"/>
              </a:cxn>
              <a:cxn ang="0">
                <a:pos x="9" y="27"/>
              </a:cxn>
              <a:cxn ang="0">
                <a:pos x="17" y="57"/>
              </a:cxn>
              <a:cxn ang="0">
                <a:pos x="57" y="20"/>
              </a:cxn>
              <a:cxn ang="0">
                <a:pos x="56" y="16"/>
              </a:cxn>
              <a:cxn ang="0">
                <a:pos x="22" y="65"/>
              </a:cxn>
              <a:cxn ang="0">
                <a:pos x="38" y="77"/>
              </a:cxn>
              <a:cxn ang="0">
                <a:pos x="67" y="27"/>
              </a:cxn>
              <a:cxn ang="0">
                <a:pos x="64" y="26"/>
              </a:cxn>
              <a:cxn ang="0">
                <a:pos x="22" y="65"/>
              </a:cxn>
              <a:cxn ang="0">
                <a:pos x="61" y="9"/>
              </a:cxn>
              <a:cxn ang="0">
                <a:pos x="38" y="0"/>
              </a:cxn>
              <a:cxn ang="0">
                <a:pos x="15" y="9"/>
              </a:cxn>
              <a:cxn ang="0">
                <a:pos x="1" y="22"/>
              </a:cxn>
              <a:cxn ang="0">
                <a:pos x="38" y="86"/>
              </a:cxn>
              <a:cxn ang="0">
                <a:pos x="75" y="22"/>
              </a:cxn>
              <a:cxn ang="0">
                <a:pos x="61" y="9"/>
              </a:cxn>
              <a:cxn ang="0">
                <a:pos x="39" y="78"/>
              </a:cxn>
              <a:cxn ang="0">
                <a:pos x="38" y="79"/>
              </a:cxn>
              <a:cxn ang="0">
                <a:pos x="38" y="78"/>
              </a:cxn>
              <a:cxn ang="0">
                <a:pos x="8" y="26"/>
              </a:cxn>
              <a:cxn ang="0">
                <a:pos x="8" y="25"/>
              </a:cxn>
              <a:cxn ang="0">
                <a:pos x="9" y="25"/>
              </a:cxn>
              <a:cxn ang="0">
                <a:pos x="9" y="25"/>
              </a:cxn>
              <a:cxn ang="0">
                <a:pos x="19" y="15"/>
              </a:cxn>
              <a:cxn ang="0">
                <a:pos x="19" y="14"/>
              </a:cxn>
              <a:cxn ang="0">
                <a:pos x="20" y="15"/>
              </a:cxn>
              <a:cxn ang="0">
                <a:pos x="22" y="15"/>
              </a:cxn>
              <a:cxn ang="0">
                <a:pos x="38" y="8"/>
              </a:cxn>
              <a:cxn ang="0">
                <a:pos x="38" y="7"/>
              </a:cxn>
              <a:cxn ang="0">
                <a:pos x="39" y="8"/>
              </a:cxn>
              <a:cxn ang="0">
                <a:pos x="55" y="15"/>
              </a:cxn>
              <a:cxn ang="0">
                <a:pos x="57" y="15"/>
              </a:cxn>
              <a:cxn ang="0">
                <a:pos x="58" y="14"/>
              </a:cxn>
              <a:cxn ang="0">
                <a:pos x="58" y="15"/>
              </a:cxn>
              <a:cxn ang="0">
                <a:pos x="67" y="25"/>
              </a:cxn>
              <a:cxn ang="0">
                <a:pos x="68" y="25"/>
              </a:cxn>
              <a:cxn ang="0">
                <a:pos x="69" y="25"/>
              </a:cxn>
              <a:cxn ang="0">
                <a:pos x="69" y="26"/>
              </a:cxn>
              <a:cxn ang="0">
                <a:pos x="39" y="78"/>
              </a:cxn>
            </a:cxnLst>
            <a:rect l="0" t="0" r="r" b="b"/>
            <a:pathLst>
              <a:path w="76" h="86">
                <a:moveTo>
                  <a:pt x="56" y="16"/>
                </a:moveTo>
                <a:cubicBezTo>
                  <a:pt x="53" y="17"/>
                  <a:pt x="46" y="17"/>
                  <a:pt x="38" y="9"/>
                </a:cubicBezTo>
                <a:cubicBezTo>
                  <a:pt x="30" y="17"/>
                  <a:pt x="23" y="17"/>
                  <a:pt x="20" y="16"/>
                </a:cubicBezTo>
                <a:cubicBezTo>
                  <a:pt x="20" y="24"/>
                  <a:pt x="14" y="27"/>
                  <a:pt x="9" y="27"/>
                </a:cubicBezTo>
                <a:cubicBezTo>
                  <a:pt x="9" y="40"/>
                  <a:pt x="12" y="50"/>
                  <a:pt x="17" y="57"/>
                </a:cubicBezTo>
                <a:cubicBezTo>
                  <a:pt x="57" y="20"/>
                  <a:pt x="57" y="20"/>
                  <a:pt x="57" y="20"/>
                </a:cubicBezTo>
                <a:cubicBezTo>
                  <a:pt x="56" y="19"/>
                  <a:pt x="56" y="18"/>
                  <a:pt x="56" y="16"/>
                </a:cubicBezTo>
                <a:close/>
                <a:moveTo>
                  <a:pt x="22" y="65"/>
                </a:moveTo>
                <a:cubicBezTo>
                  <a:pt x="29" y="73"/>
                  <a:pt x="37" y="76"/>
                  <a:pt x="38" y="77"/>
                </a:cubicBezTo>
                <a:cubicBezTo>
                  <a:pt x="41" y="76"/>
                  <a:pt x="67" y="65"/>
                  <a:pt x="67" y="27"/>
                </a:cubicBezTo>
                <a:cubicBezTo>
                  <a:pt x="66" y="27"/>
                  <a:pt x="65" y="26"/>
                  <a:pt x="64" y="26"/>
                </a:cubicBezTo>
                <a:lnTo>
                  <a:pt x="22" y="65"/>
                </a:lnTo>
                <a:close/>
                <a:moveTo>
                  <a:pt x="61" y="9"/>
                </a:moveTo>
                <a:cubicBezTo>
                  <a:pt x="61" y="9"/>
                  <a:pt x="50" y="11"/>
                  <a:pt x="38" y="0"/>
                </a:cubicBezTo>
                <a:cubicBezTo>
                  <a:pt x="26" y="11"/>
                  <a:pt x="15" y="9"/>
                  <a:pt x="15" y="9"/>
                </a:cubicBezTo>
                <a:cubicBezTo>
                  <a:pt x="15" y="23"/>
                  <a:pt x="1" y="22"/>
                  <a:pt x="1" y="22"/>
                </a:cubicBezTo>
                <a:cubicBezTo>
                  <a:pt x="0" y="74"/>
                  <a:pt x="38" y="86"/>
                  <a:pt x="38" y="86"/>
                </a:cubicBezTo>
                <a:cubicBezTo>
                  <a:pt x="38" y="86"/>
                  <a:pt x="76" y="74"/>
                  <a:pt x="75" y="22"/>
                </a:cubicBezTo>
                <a:cubicBezTo>
                  <a:pt x="75" y="22"/>
                  <a:pt x="62" y="23"/>
                  <a:pt x="61" y="9"/>
                </a:cubicBezTo>
                <a:close/>
                <a:moveTo>
                  <a:pt x="39" y="78"/>
                </a:moveTo>
                <a:cubicBezTo>
                  <a:pt x="38" y="79"/>
                  <a:pt x="38" y="79"/>
                  <a:pt x="38" y="79"/>
                </a:cubicBezTo>
                <a:cubicBezTo>
                  <a:pt x="38" y="78"/>
                  <a:pt x="38" y="78"/>
                  <a:pt x="38" y="78"/>
                </a:cubicBezTo>
                <a:cubicBezTo>
                  <a:pt x="38" y="78"/>
                  <a:pt x="7" y="68"/>
                  <a:pt x="8" y="26"/>
                </a:cubicBezTo>
                <a:cubicBezTo>
                  <a:pt x="8" y="25"/>
                  <a:pt x="8" y="25"/>
                  <a:pt x="8" y="25"/>
                </a:cubicBezTo>
                <a:cubicBezTo>
                  <a:pt x="9" y="25"/>
                  <a:pt x="9" y="25"/>
                  <a:pt x="9" y="25"/>
                </a:cubicBezTo>
                <a:cubicBezTo>
                  <a:pt x="9" y="25"/>
                  <a:pt x="9" y="25"/>
                  <a:pt x="9" y="25"/>
                </a:cubicBezTo>
                <a:cubicBezTo>
                  <a:pt x="12" y="25"/>
                  <a:pt x="19" y="24"/>
                  <a:pt x="19" y="15"/>
                </a:cubicBezTo>
                <a:cubicBezTo>
                  <a:pt x="19" y="14"/>
                  <a:pt x="19" y="14"/>
                  <a:pt x="19" y="14"/>
                </a:cubicBezTo>
                <a:cubicBezTo>
                  <a:pt x="20" y="15"/>
                  <a:pt x="20" y="15"/>
                  <a:pt x="20" y="15"/>
                </a:cubicBezTo>
                <a:cubicBezTo>
                  <a:pt x="20" y="15"/>
                  <a:pt x="21" y="15"/>
                  <a:pt x="22" y="15"/>
                </a:cubicBezTo>
                <a:cubicBezTo>
                  <a:pt x="25" y="15"/>
                  <a:pt x="31" y="14"/>
                  <a:pt x="38" y="8"/>
                </a:cubicBezTo>
                <a:cubicBezTo>
                  <a:pt x="38" y="7"/>
                  <a:pt x="38" y="7"/>
                  <a:pt x="38" y="7"/>
                </a:cubicBezTo>
                <a:cubicBezTo>
                  <a:pt x="39" y="8"/>
                  <a:pt x="39" y="8"/>
                  <a:pt x="39" y="8"/>
                </a:cubicBezTo>
                <a:cubicBezTo>
                  <a:pt x="46" y="14"/>
                  <a:pt x="52" y="15"/>
                  <a:pt x="55" y="15"/>
                </a:cubicBezTo>
                <a:cubicBezTo>
                  <a:pt x="56" y="15"/>
                  <a:pt x="57" y="15"/>
                  <a:pt x="57" y="15"/>
                </a:cubicBezTo>
                <a:cubicBezTo>
                  <a:pt x="58" y="14"/>
                  <a:pt x="58" y="14"/>
                  <a:pt x="58" y="14"/>
                </a:cubicBezTo>
                <a:cubicBezTo>
                  <a:pt x="58" y="15"/>
                  <a:pt x="58" y="15"/>
                  <a:pt x="58" y="15"/>
                </a:cubicBezTo>
                <a:cubicBezTo>
                  <a:pt x="58" y="24"/>
                  <a:pt x="65" y="25"/>
                  <a:pt x="67" y="25"/>
                </a:cubicBezTo>
                <a:cubicBezTo>
                  <a:pt x="68" y="25"/>
                  <a:pt x="68" y="25"/>
                  <a:pt x="68" y="25"/>
                </a:cubicBezTo>
                <a:cubicBezTo>
                  <a:pt x="69" y="25"/>
                  <a:pt x="69" y="25"/>
                  <a:pt x="69" y="25"/>
                </a:cubicBezTo>
                <a:cubicBezTo>
                  <a:pt x="69" y="26"/>
                  <a:pt x="69" y="26"/>
                  <a:pt x="69" y="26"/>
                </a:cubicBezTo>
                <a:cubicBezTo>
                  <a:pt x="70" y="68"/>
                  <a:pt x="39" y="78"/>
                  <a:pt x="39" y="78"/>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41" name="Freeform 43"/>
          <p:cNvSpPr>
            <a:spLocks noChangeAspect="1" noEditPoints="1"/>
          </p:cNvSpPr>
          <p:nvPr/>
        </p:nvSpPr>
        <p:spPr bwMode="gray">
          <a:xfrm>
            <a:off x="4774842" y="976025"/>
            <a:ext cx="125418" cy="538415"/>
          </a:xfrm>
          <a:custGeom>
            <a:avLst/>
            <a:gdLst/>
            <a:ahLst/>
            <a:cxnLst>
              <a:cxn ang="0">
                <a:pos x="23" y="0"/>
              </a:cxn>
              <a:cxn ang="0">
                <a:pos x="4" y="0"/>
              </a:cxn>
              <a:cxn ang="0">
                <a:pos x="0" y="5"/>
              </a:cxn>
              <a:cxn ang="0">
                <a:pos x="0" y="69"/>
              </a:cxn>
              <a:cxn ang="0">
                <a:pos x="4" y="74"/>
              </a:cxn>
              <a:cxn ang="0">
                <a:pos x="9" y="74"/>
              </a:cxn>
              <a:cxn ang="0">
                <a:pos x="9" y="119"/>
              </a:cxn>
              <a:cxn ang="0">
                <a:pos x="18" y="119"/>
              </a:cxn>
              <a:cxn ang="0">
                <a:pos x="18" y="74"/>
              </a:cxn>
              <a:cxn ang="0">
                <a:pos x="23" y="74"/>
              </a:cxn>
              <a:cxn ang="0">
                <a:pos x="27" y="69"/>
              </a:cxn>
              <a:cxn ang="0">
                <a:pos x="27" y="5"/>
              </a:cxn>
              <a:cxn ang="0">
                <a:pos x="23" y="0"/>
              </a:cxn>
              <a:cxn ang="0">
                <a:pos x="13" y="70"/>
              </a:cxn>
              <a:cxn ang="0">
                <a:pos x="4" y="60"/>
              </a:cxn>
              <a:cxn ang="0">
                <a:pos x="13" y="51"/>
              </a:cxn>
              <a:cxn ang="0">
                <a:pos x="23" y="60"/>
              </a:cxn>
              <a:cxn ang="0">
                <a:pos x="13" y="70"/>
              </a:cxn>
              <a:cxn ang="0">
                <a:pos x="13" y="47"/>
              </a:cxn>
              <a:cxn ang="0">
                <a:pos x="4" y="37"/>
              </a:cxn>
              <a:cxn ang="0">
                <a:pos x="13" y="27"/>
              </a:cxn>
              <a:cxn ang="0">
                <a:pos x="23" y="37"/>
              </a:cxn>
              <a:cxn ang="0">
                <a:pos x="13" y="47"/>
              </a:cxn>
              <a:cxn ang="0">
                <a:pos x="13" y="24"/>
              </a:cxn>
              <a:cxn ang="0">
                <a:pos x="4" y="14"/>
              </a:cxn>
              <a:cxn ang="0">
                <a:pos x="13" y="5"/>
              </a:cxn>
              <a:cxn ang="0">
                <a:pos x="23" y="14"/>
              </a:cxn>
              <a:cxn ang="0">
                <a:pos x="13" y="24"/>
              </a:cxn>
            </a:cxnLst>
            <a:rect l="0" t="0" r="r" b="b"/>
            <a:pathLst>
              <a:path w="27" h="119">
                <a:moveTo>
                  <a:pt x="23" y="0"/>
                </a:moveTo>
                <a:cubicBezTo>
                  <a:pt x="4" y="0"/>
                  <a:pt x="4" y="0"/>
                  <a:pt x="4" y="0"/>
                </a:cubicBezTo>
                <a:cubicBezTo>
                  <a:pt x="2" y="0"/>
                  <a:pt x="0" y="2"/>
                  <a:pt x="0" y="5"/>
                </a:cubicBezTo>
                <a:cubicBezTo>
                  <a:pt x="0" y="69"/>
                  <a:pt x="0" y="69"/>
                  <a:pt x="0" y="69"/>
                </a:cubicBezTo>
                <a:cubicBezTo>
                  <a:pt x="0" y="72"/>
                  <a:pt x="2" y="74"/>
                  <a:pt x="4" y="74"/>
                </a:cubicBezTo>
                <a:cubicBezTo>
                  <a:pt x="9" y="74"/>
                  <a:pt x="9" y="74"/>
                  <a:pt x="9" y="74"/>
                </a:cubicBezTo>
                <a:cubicBezTo>
                  <a:pt x="9" y="119"/>
                  <a:pt x="9" y="119"/>
                  <a:pt x="9" y="119"/>
                </a:cubicBezTo>
                <a:cubicBezTo>
                  <a:pt x="18" y="119"/>
                  <a:pt x="18" y="119"/>
                  <a:pt x="18" y="119"/>
                </a:cubicBezTo>
                <a:cubicBezTo>
                  <a:pt x="18" y="74"/>
                  <a:pt x="18" y="74"/>
                  <a:pt x="18" y="74"/>
                </a:cubicBezTo>
                <a:cubicBezTo>
                  <a:pt x="23" y="74"/>
                  <a:pt x="23" y="74"/>
                  <a:pt x="23" y="74"/>
                </a:cubicBezTo>
                <a:cubicBezTo>
                  <a:pt x="25" y="74"/>
                  <a:pt x="27" y="72"/>
                  <a:pt x="27" y="69"/>
                </a:cubicBezTo>
                <a:cubicBezTo>
                  <a:pt x="27" y="5"/>
                  <a:pt x="27" y="5"/>
                  <a:pt x="27" y="5"/>
                </a:cubicBezTo>
                <a:cubicBezTo>
                  <a:pt x="27" y="2"/>
                  <a:pt x="25" y="0"/>
                  <a:pt x="23" y="0"/>
                </a:cubicBezTo>
                <a:close/>
                <a:moveTo>
                  <a:pt x="13" y="70"/>
                </a:moveTo>
                <a:cubicBezTo>
                  <a:pt x="8" y="70"/>
                  <a:pt x="4" y="66"/>
                  <a:pt x="4" y="60"/>
                </a:cubicBezTo>
                <a:cubicBezTo>
                  <a:pt x="4" y="55"/>
                  <a:pt x="8" y="51"/>
                  <a:pt x="13" y="51"/>
                </a:cubicBezTo>
                <a:cubicBezTo>
                  <a:pt x="19" y="51"/>
                  <a:pt x="23" y="55"/>
                  <a:pt x="23" y="60"/>
                </a:cubicBezTo>
                <a:cubicBezTo>
                  <a:pt x="23" y="66"/>
                  <a:pt x="19" y="70"/>
                  <a:pt x="13" y="70"/>
                </a:cubicBezTo>
                <a:close/>
                <a:moveTo>
                  <a:pt x="13" y="47"/>
                </a:moveTo>
                <a:cubicBezTo>
                  <a:pt x="8" y="47"/>
                  <a:pt x="4" y="42"/>
                  <a:pt x="4" y="37"/>
                </a:cubicBezTo>
                <a:cubicBezTo>
                  <a:pt x="4" y="32"/>
                  <a:pt x="8" y="27"/>
                  <a:pt x="13" y="27"/>
                </a:cubicBezTo>
                <a:cubicBezTo>
                  <a:pt x="19" y="27"/>
                  <a:pt x="23" y="32"/>
                  <a:pt x="23" y="37"/>
                </a:cubicBezTo>
                <a:cubicBezTo>
                  <a:pt x="23" y="42"/>
                  <a:pt x="19" y="47"/>
                  <a:pt x="13" y="47"/>
                </a:cubicBezTo>
                <a:close/>
                <a:moveTo>
                  <a:pt x="13" y="24"/>
                </a:moveTo>
                <a:cubicBezTo>
                  <a:pt x="8" y="24"/>
                  <a:pt x="4" y="19"/>
                  <a:pt x="4" y="14"/>
                </a:cubicBezTo>
                <a:cubicBezTo>
                  <a:pt x="4" y="9"/>
                  <a:pt x="8" y="5"/>
                  <a:pt x="13" y="5"/>
                </a:cubicBezTo>
                <a:cubicBezTo>
                  <a:pt x="19" y="5"/>
                  <a:pt x="23" y="9"/>
                  <a:pt x="23" y="14"/>
                </a:cubicBezTo>
                <a:cubicBezTo>
                  <a:pt x="23" y="19"/>
                  <a:pt x="19" y="24"/>
                  <a:pt x="13" y="2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2" name="Freeform 29"/>
          <p:cNvSpPr>
            <a:spLocks noChangeAspect="1" noEditPoints="1"/>
          </p:cNvSpPr>
          <p:nvPr/>
        </p:nvSpPr>
        <p:spPr bwMode="gray">
          <a:xfrm>
            <a:off x="185884" y="2932723"/>
            <a:ext cx="190847" cy="218972"/>
          </a:xfrm>
          <a:custGeom>
            <a:avLst/>
            <a:gdLst/>
            <a:ahLst/>
            <a:cxnLst>
              <a:cxn ang="0">
                <a:pos x="48" y="28"/>
              </a:cxn>
              <a:cxn ang="0">
                <a:pos x="54" y="3"/>
              </a:cxn>
              <a:cxn ang="0">
                <a:pos x="35" y="21"/>
              </a:cxn>
              <a:cxn ang="0">
                <a:pos x="17" y="37"/>
              </a:cxn>
              <a:cxn ang="0">
                <a:pos x="17" y="65"/>
              </a:cxn>
              <a:cxn ang="0">
                <a:pos x="52" y="76"/>
              </a:cxn>
              <a:cxn ang="0">
                <a:pos x="66" y="35"/>
              </a:cxn>
              <a:cxn ang="0">
                <a:pos x="48" y="28"/>
              </a:cxn>
              <a:cxn ang="0">
                <a:pos x="12" y="29"/>
              </a:cxn>
              <a:cxn ang="0">
                <a:pos x="0" y="41"/>
              </a:cxn>
              <a:cxn ang="0">
                <a:pos x="0" y="61"/>
              </a:cxn>
              <a:cxn ang="0">
                <a:pos x="12" y="74"/>
              </a:cxn>
              <a:cxn ang="0">
                <a:pos x="8" y="64"/>
              </a:cxn>
              <a:cxn ang="0">
                <a:pos x="8" y="38"/>
              </a:cxn>
              <a:cxn ang="0">
                <a:pos x="12" y="29"/>
              </a:cxn>
            </a:cxnLst>
            <a:rect l="0" t="0" r="r" b="b"/>
            <a:pathLst>
              <a:path w="66" h="76">
                <a:moveTo>
                  <a:pt x="48" y="28"/>
                </a:moveTo>
                <a:cubicBezTo>
                  <a:pt x="47" y="27"/>
                  <a:pt x="62" y="13"/>
                  <a:pt x="54" y="3"/>
                </a:cubicBezTo>
                <a:cubicBezTo>
                  <a:pt x="51" y="0"/>
                  <a:pt x="45" y="15"/>
                  <a:pt x="35" y="21"/>
                </a:cubicBezTo>
                <a:cubicBezTo>
                  <a:pt x="29" y="25"/>
                  <a:pt x="17" y="33"/>
                  <a:pt x="17" y="37"/>
                </a:cubicBezTo>
                <a:cubicBezTo>
                  <a:pt x="17" y="65"/>
                  <a:pt x="17" y="65"/>
                  <a:pt x="17" y="65"/>
                </a:cubicBezTo>
                <a:cubicBezTo>
                  <a:pt x="17" y="70"/>
                  <a:pt x="37" y="76"/>
                  <a:pt x="52" y="76"/>
                </a:cubicBezTo>
                <a:cubicBezTo>
                  <a:pt x="58" y="76"/>
                  <a:pt x="66" y="41"/>
                  <a:pt x="66" y="35"/>
                </a:cubicBezTo>
                <a:cubicBezTo>
                  <a:pt x="66" y="30"/>
                  <a:pt x="48" y="30"/>
                  <a:pt x="48" y="28"/>
                </a:cubicBezTo>
                <a:close/>
                <a:moveTo>
                  <a:pt x="12" y="29"/>
                </a:moveTo>
                <a:cubicBezTo>
                  <a:pt x="10" y="29"/>
                  <a:pt x="0" y="30"/>
                  <a:pt x="0" y="41"/>
                </a:cubicBezTo>
                <a:cubicBezTo>
                  <a:pt x="0" y="61"/>
                  <a:pt x="0" y="61"/>
                  <a:pt x="0" y="61"/>
                </a:cubicBezTo>
                <a:cubicBezTo>
                  <a:pt x="0" y="72"/>
                  <a:pt x="10" y="74"/>
                  <a:pt x="12" y="74"/>
                </a:cubicBezTo>
                <a:cubicBezTo>
                  <a:pt x="15" y="74"/>
                  <a:pt x="8" y="71"/>
                  <a:pt x="8" y="64"/>
                </a:cubicBezTo>
                <a:cubicBezTo>
                  <a:pt x="8" y="38"/>
                  <a:pt x="8" y="38"/>
                  <a:pt x="8" y="38"/>
                </a:cubicBezTo>
                <a:cubicBezTo>
                  <a:pt x="8" y="31"/>
                  <a:pt x="15" y="29"/>
                  <a:pt x="12" y="29"/>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43" name="Freeform 68"/>
          <p:cNvSpPr>
            <a:spLocks noChangeAspect="1"/>
          </p:cNvSpPr>
          <p:nvPr/>
        </p:nvSpPr>
        <p:spPr bwMode="gray">
          <a:xfrm>
            <a:off x="180762" y="3407530"/>
            <a:ext cx="198915" cy="315199"/>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44" name="TextBox 43"/>
          <p:cNvSpPr txBox="1"/>
          <p:nvPr/>
        </p:nvSpPr>
        <p:spPr>
          <a:xfrm>
            <a:off x="663173" y="4636416"/>
            <a:ext cx="3780000" cy="307777"/>
          </a:xfrm>
          <a:prstGeom prst="rect">
            <a:avLst/>
          </a:prstGeom>
          <a:noFill/>
        </p:spPr>
        <p:txBody>
          <a:bodyPr wrap="square" lIns="0" tIns="0" rIns="0" bIns="0" rtlCol="0" anchor="ctr">
            <a:spAutoFit/>
          </a:bodyPr>
          <a:lstStyle/>
          <a:p>
            <a:pPr>
              <a:spcBef>
                <a:spcPts val="600"/>
              </a:spcBef>
              <a:buClr>
                <a:schemeClr val="tx2"/>
              </a:buClr>
            </a:pP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Winning the war on talent between metropolitan areas</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45" name="Group 209"/>
          <p:cNvGrpSpPr>
            <a:grpSpLocks noChangeAspect="1"/>
          </p:cNvGrpSpPr>
          <p:nvPr/>
        </p:nvGrpSpPr>
        <p:grpSpPr bwMode="gray">
          <a:xfrm>
            <a:off x="176784" y="4644344"/>
            <a:ext cx="199947" cy="325067"/>
            <a:chOff x="8193088" y="2763838"/>
            <a:chExt cx="776287" cy="1262063"/>
          </a:xfrm>
          <a:solidFill>
            <a:srgbClr val="81BC00"/>
          </a:solidFill>
        </p:grpSpPr>
        <p:sp>
          <p:nvSpPr>
            <p:cNvPr id="46" name="Freeform 29"/>
            <p:cNvSpPr>
              <a:spLocks/>
            </p:cNvSpPr>
            <p:nvPr/>
          </p:nvSpPr>
          <p:spPr bwMode="gray">
            <a:xfrm>
              <a:off x="8512175" y="3979863"/>
              <a:ext cx="149225" cy="46038"/>
            </a:xfrm>
            <a:custGeom>
              <a:avLst/>
              <a:gdLst/>
              <a:ahLst/>
              <a:cxnLst>
                <a:cxn ang="0">
                  <a:pos x="0" y="0"/>
                </a:cxn>
                <a:cxn ang="0">
                  <a:pos x="13" y="0"/>
                </a:cxn>
                <a:cxn ang="0">
                  <a:pos x="6" y="4"/>
                </a:cxn>
                <a:cxn ang="0">
                  <a:pos x="0" y="0"/>
                </a:cxn>
              </a:cxnLst>
              <a:rect l="0" t="0" r="r" b="b"/>
              <a:pathLst>
                <a:path w="13" h="4">
                  <a:moveTo>
                    <a:pt x="0" y="0"/>
                  </a:moveTo>
                  <a:cubicBezTo>
                    <a:pt x="13" y="0"/>
                    <a:pt x="13" y="0"/>
                    <a:pt x="13" y="0"/>
                  </a:cubicBezTo>
                  <a:cubicBezTo>
                    <a:pt x="12" y="3"/>
                    <a:pt x="9" y="4"/>
                    <a:pt x="6" y="4"/>
                  </a:cubicBezTo>
                  <a:cubicBezTo>
                    <a:pt x="4" y="4"/>
                    <a:pt x="1" y="3"/>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47" name="Freeform 30"/>
            <p:cNvSpPr>
              <a:spLocks noEditPoints="1"/>
            </p:cNvSpPr>
            <p:nvPr/>
          </p:nvSpPr>
          <p:spPr bwMode="gray">
            <a:xfrm>
              <a:off x="8193088" y="2763838"/>
              <a:ext cx="776287" cy="977900"/>
            </a:xfrm>
            <a:custGeom>
              <a:avLst/>
              <a:gdLst/>
              <a:ahLst/>
              <a:cxnLst>
                <a:cxn ang="0">
                  <a:pos x="34" y="86"/>
                </a:cxn>
                <a:cxn ang="0">
                  <a:pos x="45" y="86"/>
                </a:cxn>
                <a:cxn ang="0">
                  <a:pos x="49" y="79"/>
                </a:cxn>
                <a:cxn ang="0">
                  <a:pos x="56" y="64"/>
                </a:cxn>
                <a:cxn ang="0">
                  <a:pos x="66" y="31"/>
                </a:cxn>
                <a:cxn ang="0">
                  <a:pos x="63" y="23"/>
                </a:cxn>
                <a:cxn ang="0">
                  <a:pos x="5" y="23"/>
                </a:cxn>
                <a:cxn ang="0">
                  <a:pos x="3" y="31"/>
                </a:cxn>
                <a:cxn ang="0">
                  <a:pos x="13" y="64"/>
                </a:cxn>
                <a:cxn ang="0">
                  <a:pos x="19" y="79"/>
                </a:cxn>
                <a:cxn ang="0">
                  <a:pos x="24" y="86"/>
                </a:cxn>
                <a:cxn ang="0">
                  <a:pos x="34" y="86"/>
                </a:cxn>
                <a:cxn ang="0">
                  <a:pos x="11" y="38"/>
                </a:cxn>
                <a:cxn ang="0">
                  <a:pos x="16" y="20"/>
                </a:cxn>
                <a:cxn ang="0">
                  <a:pos x="18" y="23"/>
                </a:cxn>
                <a:cxn ang="0">
                  <a:pos x="11" y="39"/>
                </a:cxn>
                <a:cxn ang="0">
                  <a:pos x="11" y="38"/>
                </a:cxn>
              </a:cxnLst>
              <a:rect l="0" t="0" r="r" b="b"/>
              <a:pathLst>
                <a:path w="68" h="86">
                  <a:moveTo>
                    <a:pt x="34" y="86"/>
                  </a:moveTo>
                  <a:cubicBezTo>
                    <a:pt x="45" y="86"/>
                    <a:pt x="45" y="86"/>
                    <a:pt x="45" y="86"/>
                  </a:cubicBezTo>
                  <a:cubicBezTo>
                    <a:pt x="49" y="86"/>
                    <a:pt x="49" y="82"/>
                    <a:pt x="49" y="79"/>
                  </a:cubicBezTo>
                  <a:cubicBezTo>
                    <a:pt x="51" y="73"/>
                    <a:pt x="53" y="68"/>
                    <a:pt x="56" y="64"/>
                  </a:cubicBezTo>
                  <a:cubicBezTo>
                    <a:pt x="62" y="54"/>
                    <a:pt x="68" y="43"/>
                    <a:pt x="66" y="31"/>
                  </a:cubicBezTo>
                  <a:cubicBezTo>
                    <a:pt x="65" y="28"/>
                    <a:pt x="64" y="25"/>
                    <a:pt x="63" y="23"/>
                  </a:cubicBezTo>
                  <a:cubicBezTo>
                    <a:pt x="52" y="0"/>
                    <a:pt x="16" y="0"/>
                    <a:pt x="5" y="23"/>
                  </a:cubicBezTo>
                  <a:cubicBezTo>
                    <a:pt x="4" y="25"/>
                    <a:pt x="3" y="28"/>
                    <a:pt x="3" y="31"/>
                  </a:cubicBezTo>
                  <a:cubicBezTo>
                    <a:pt x="0" y="43"/>
                    <a:pt x="7" y="54"/>
                    <a:pt x="13" y="64"/>
                  </a:cubicBezTo>
                  <a:cubicBezTo>
                    <a:pt x="16" y="68"/>
                    <a:pt x="18" y="73"/>
                    <a:pt x="19" y="79"/>
                  </a:cubicBezTo>
                  <a:cubicBezTo>
                    <a:pt x="20" y="82"/>
                    <a:pt x="20" y="86"/>
                    <a:pt x="24" y="86"/>
                  </a:cubicBezTo>
                  <a:cubicBezTo>
                    <a:pt x="34" y="86"/>
                    <a:pt x="34" y="86"/>
                    <a:pt x="34" y="86"/>
                  </a:cubicBezTo>
                  <a:close/>
                  <a:moveTo>
                    <a:pt x="11" y="38"/>
                  </a:moveTo>
                  <a:cubicBezTo>
                    <a:pt x="11" y="38"/>
                    <a:pt x="8" y="28"/>
                    <a:pt x="16" y="20"/>
                  </a:cubicBezTo>
                  <a:cubicBezTo>
                    <a:pt x="19" y="18"/>
                    <a:pt x="22" y="21"/>
                    <a:pt x="18" y="23"/>
                  </a:cubicBezTo>
                  <a:cubicBezTo>
                    <a:pt x="11" y="29"/>
                    <a:pt x="11" y="36"/>
                    <a:pt x="11" y="39"/>
                  </a:cubicBezTo>
                  <a:cubicBezTo>
                    <a:pt x="11" y="39"/>
                    <a:pt x="11" y="38"/>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48" name="Freeform 31"/>
            <p:cNvSpPr>
              <a:spLocks/>
            </p:cNvSpPr>
            <p:nvPr/>
          </p:nvSpPr>
          <p:spPr bwMode="gray">
            <a:xfrm>
              <a:off x="8421688" y="3763963"/>
              <a:ext cx="319087" cy="204788"/>
            </a:xfrm>
            <a:custGeom>
              <a:avLst/>
              <a:gdLst/>
              <a:ahLst/>
              <a:cxnLst>
                <a:cxn ang="0">
                  <a:pos x="28" y="8"/>
                </a:cxn>
                <a:cxn ang="0">
                  <a:pos x="27" y="7"/>
                </a:cxn>
                <a:cxn ang="0">
                  <a:pos x="27" y="5"/>
                </a:cxn>
                <a:cxn ang="0">
                  <a:pos x="28" y="4"/>
                </a:cxn>
                <a:cxn ang="0">
                  <a:pos x="27" y="3"/>
                </a:cxn>
                <a:cxn ang="0">
                  <a:pos x="27" y="0"/>
                </a:cxn>
                <a:cxn ang="0">
                  <a:pos x="14" y="0"/>
                </a:cxn>
                <a:cxn ang="0">
                  <a:pos x="2" y="0"/>
                </a:cxn>
                <a:cxn ang="0">
                  <a:pos x="2" y="3"/>
                </a:cxn>
                <a:cxn ang="0">
                  <a:pos x="0" y="4"/>
                </a:cxn>
                <a:cxn ang="0">
                  <a:pos x="2" y="5"/>
                </a:cxn>
                <a:cxn ang="0">
                  <a:pos x="2" y="7"/>
                </a:cxn>
                <a:cxn ang="0">
                  <a:pos x="0" y="8"/>
                </a:cxn>
                <a:cxn ang="0">
                  <a:pos x="2" y="9"/>
                </a:cxn>
                <a:cxn ang="0">
                  <a:pos x="2" y="11"/>
                </a:cxn>
                <a:cxn ang="0">
                  <a:pos x="0" y="13"/>
                </a:cxn>
                <a:cxn ang="0">
                  <a:pos x="2" y="14"/>
                </a:cxn>
                <a:cxn ang="0">
                  <a:pos x="2" y="15"/>
                </a:cxn>
                <a:cxn ang="0">
                  <a:pos x="5" y="18"/>
                </a:cxn>
                <a:cxn ang="0">
                  <a:pos x="14" y="18"/>
                </a:cxn>
                <a:cxn ang="0">
                  <a:pos x="24" y="18"/>
                </a:cxn>
                <a:cxn ang="0">
                  <a:pos x="27" y="15"/>
                </a:cxn>
                <a:cxn ang="0">
                  <a:pos x="27" y="14"/>
                </a:cxn>
                <a:cxn ang="0">
                  <a:pos x="28" y="13"/>
                </a:cxn>
                <a:cxn ang="0">
                  <a:pos x="27" y="11"/>
                </a:cxn>
                <a:cxn ang="0">
                  <a:pos x="27" y="9"/>
                </a:cxn>
                <a:cxn ang="0">
                  <a:pos x="28" y="8"/>
                </a:cxn>
              </a:cxnLst>
              <a:rect l="0" t="0" r="r" b="b"/>
              <a:pathLst>
                <a:path w="28" h="18">
                  <a:moveTo>
                    <a:pt x="28" y="8"/>
                  </a:moveTo>
                  <a:cubicBezTo>
                    <a:pt x="28" y="8"/>
                    <a:pt x="28" y="7"/>
                    <a:pt x="27" y="7"/>
                  </a:cubicBezTo>
                  <a:cubicBezTo>
                    <a:pt x="27" y="5"/>
                    <a:pt x="27" y="5"/>
                    <a:pt x="27" y="5"/>
                  </a:cubicBezTo>
                  <a:cubicBezTo>
                    <a:pt x="28" y="5"/>
                    <a:pt x="28" y="4"/>
                    <a:pt x="28" y="4"/>
                  </a:cubicBezTo>
                  <a:cubicBezTo>
                    <a:pt x="28" y="4"/>
                    <a:pt x="28" y="3"/>
                    <a:pt x="27" y="3"/>
                  </a:cubicBezTo>
                  <a:cubicBezTo>
                    <a:pt x="27" y="0"/>
                    <a:pt x="27" y="0"/>
                    <a:pt x="27" y="0"/>
                  </a:cubicBezTo>
                  <a:cubicBezTo>
                    <a:pt x="14" y="0"/>
                    <a:pt x="14" y="0"/>
                    <a:pt x="14" y="0"/>
                  </a:cubicBezTo>
                  <a:cubicBezTo>
                    <a:pt x="2" y="0"/>
                    <a:pt x="2" y="0"/>
                    <a:pt x="2" y="0"/>
                  </a:cubicBezTo>
                  <a:cubicBezTo>
                    <a:pt x="2" y="3"/>
                    <a:pt x="2" y="3"/>
                    <a:pt x="2" y="3"/>
                  </a:cubicBezTo>
                  <a:cubicBezTo>
                    <a:pt x="1" y="3"/>
                    <a:pt x="0" y="4"/>
                    <a:pt x="0" y="4"/>
                  </a:cubicBezTo>
                  <a:cubicBezTo>
                    <a:pt x="0" y="4"/>
                    <a:pt x="1" y="5"/>
                    <a:pt x="2" y="5"/>
                  </a:cubicBezTo>
                  <a:cubicBezTo>
                    <a:pt x="2" y="7"/>
                    <a:pt x="2" y="7"/>
                    <a:pt x="2" y="7"/>
                  </a:cubicBezTo>
                  <a:cubicBezTo>
                    <a:pt x="1" y="7"/>
                    <a:pt x="0" y="8"/>
                    <a:pt x="0" y="8"/>
                  </a:cubicBezTo>
                  <a:cubicBezTo>
                    <a:pt x="0" y="9"/>
                    <a:pt x="1" y="9"/>
                    <a:pt x="2" y="9"/>
                  </a:cubicBezTo>
                  <a:cubicBezTo>
                    <a:pt x="2" y="11"/>
                    <a:pt x="2" y="11"/>
                    <a:pt x="2" y="11"/>
                  </a:cubicBezTo>
                  <a:cubicBezTo>
                    <a:pt x="1" y="12"/>
                    <a:pt x="0" y="12"/>
                    <a:pt x="0" y="13"/>
                  </a:cubicBezTo>
                  <a:cubicBezTo>
                    <a:pt x="0" y="13"/>
                    <a:pt x="1" y="13"/>
                    <a:pt x="2" y="14"/>
                  </a:cubicBezTo>
                  <a:cubicBezTo>
                    <a:pt x="2" y="15"/>
                    <a:pt x="2" y="15"/>
                    <a:pt x="2" y="15"/>
                  </a:cubicBezTo>
                  <a:cubicBezTo>
                    <a:pt x="2" y="16"/>
                    <a:pt x="3" y="18"/>
                    <a:pt x="5" y="18"/>
                  </a:cubicBezTo>
                  <a:cubicBezTo>
                    <a:pt x="14" y="18"/>
                    <a:pt x="14" y="18"/>
                    <a:pt x="14" y="18"/>
                  </a:cubicBezTo>
                  <a:cubicBezTo>
                    <a:pt x="24" y="18"/>
                    <a:pt x="24" y="18"/>
                    <a:pt x="24" y="18"/>
                  </a:cubicBezTo>
                  <a:cubicBezTo>
                    <a:pt x="25" y="18"/>
                    <a:pt x="27" y="16"/>
                    <a:pt x="27" y="15"/>
                  </a:cubicBezTo>
                  <a:cubicBezTo>
                    <a:pt x="27" y="14"/>
                    <a:pt x="27" y="14"/>
                    <a:pt x="27" y="14"/>
                  </a:cubicBezTo>
                  <a:cubicBezTo>
                    <a:pt x="28" y="13"/>
                    <a:pt x="28" y="13"/>
                    <a:pt x="28" y="13"/>
                  </a:cubicBezTo>
                  <a:cubicBezTo>
                    <a:pt x="28" y="12"/>
                    <a:pt x="28" y="12"/>
                    <a:pt x="27" y="11"/>
                  </a:cubicBezTo>
                  <a:cubicBezTo>
                    <a:pt x="27" y="9"/>
                    <a:pt x="27" y="9"/>
                    <a:pt x="27" y="9"/>
                  </a:cubicBezTo>
                  <a:cubicBezTo>
                    <a:pt x="28" y="9"/>
                    <a:pt x="28" y="8"/>
                    <a:pt x="2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grpSp>
      <p:sp>
        <p:nvSpPr>
          <p:cNvPr id="49" name="TextBox 48"/>
          <p:cNvSpPr txBox="1"/>
          <p:nvPr/>
        </p:nvSpPr>
        <p:spPr>
          <a:xfrm>
            <a:off x="663173" y="2502303"/>
            <a:ext cx="3780000" cy="153888"/>
          </a:xfrm>
          <a:prstGeom prst="rect">
            <a:avLst/>
          </a:prstGeom>
          <a:noFill/>
        </p:spPr>
        <p:txBody>
          <a:bodyPr wrap="square" lIns="0" tIns="0" rIns="0" bIns="0" rtlCol="0" anchor="ctr">
            <a:spAutoFit/>
          </a:bodyPr>
          <a:lstStyle/>
          <a:p>
            <a:pPr>
              <a:spcBef>
                <a:spcPts val="600"/>
              </a:spcBef>
              <a:buClr>
                <a:schemeClr val="tx2"/>
              </a:buClr>
            </a:pP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Economic growth</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Freeform 34"/>
          <p:cNvSpPr>
            <a:spLocks noChangeAspect="1" noEditPoints="1"/>
          </p:cNvSpPr>
          <p:nvPr/>
        </p:nvSpPr>
        <p:spPr bwMode="gray">
          <a:xfrm>
            <a:off x="9894477" y="1065232"/>
            <a:ext cx="472379" cy="360000"/>
          </a:xfrm>
          <a:custGeom>
            <a:avLst/>
            <a:gdLst/>
            <a:ahLst/>
            <a:cxnLst>
              <a:cxn ang="0">
                <a:pos x="43" y="62"/>
              </a:cxn>
              <a:cxn ang="0">
                <a:pos x="35" y="70"/>
              </a:cxn>
              <a:cxn ang="0">
                <a:pos x="43" y="79"/>
              </a:cxn>
              <a:cxn ang="0">
                <a:pos x="51" y="70"/>
              </a:cxn>
              <a:cxn ang="0">
                <a:pos x="43" y="62"/>
              </a:cxn>
              <a:cxn ang="0">
                <a:pos x="80" y="62"/>
              </a:cxn>
              <a:cxn ang="0">
                <a:pos x="72" y="70"/>
              </a:cxn>
              <a:cxn ang="0">
                <a:pos x="80" y="79"/>
              </a:cxn>
              <a:cxn ang="0">
                <a:pos x="88" y="70"/>
              </a:cxn>
              <a:cxn ang="0">
                <a:pos x="80" y="62"/>
              </a:cxn>
              <a:cxn ang="0">
                <a:pos x="92" y="49"/>
              </a:cxn>
              <a:cxn ang="0">
                <a:pos x="34" y="49"/>
              </a:cxn>
              <a:cxn ang="0">
                <a:pos x="22" y="3"/>
              </a:cxn>
              <a:cxn ang="0">
                <a:pos x="20" y="1"/>
              </a:cxn>
              <a:cxn ang="0">
                <a:pos x="2" y="1"/>
              </a:cxn>
              <a:cxn ang="0">
                <a:pos x="0" y="3"/>
              </a:cxn>
              <a:cxn ang="0">
                <a:pos x="1" y="5"/>
              </a:cxn>
              <a:cxn ang="0">
                <a:pos x="13" y="5"/>
              </a:cxn>
              <a:cxn ang="0">
                <a:pos x="15" y="7"/>
              </a:cxn>
              <a:cxn ang="0">
                <a:pos x="28" y="58"/>
              </a:cxn>
              <a:cxn ang="0">
                <a:pos x="92" y="58"/>
              </a:cxn>
              <a:cxn ang="0">
                <a:pos x="94" y="56"/>
              </a:cxn>
              <a:cxn ang="0">
                <a:pos x="94" y="51"/>
              </a:cxn>
              <a:cxn ang="0">
                <a:pos x="92" y="49"/>
              </a:cxn>
              <a:cxn ang="0">
                <a:pos x="99" y="1"/>
              </a:cxn>
              <a:cxn ang="0">
                <a:pos x="31" y="1"/>
              </a:cxn>
              <a:cxn ang="0">
                <a:pos x="28" y="8"/>
              </a:cxn>
              <a:cxn ang="0">
                <a:pos x="37" y="42"/>
              </a:cxn>
              <a:cxn ang="0">
                <a:pos x="41" y="45"/>
              </a:cxn>
              <a:cxn ang="0">
                <a:pos x="91" y="45"/>
              </a:cxn>
              <a:cxn ang="0">
                <a:pos x="95" y="40"/>
              </a:cxn>
              <a:cxn ang="0">
                <a:pos x="103" y="5"/>
              </a:cxn>
              <a:cxn ang="0">
                <a:pos x="99" y="1"/>
              </a:cxn>
              <a:cxn ang="0">
                <a:pos x="38" y="14"/>
              </a:cxn>
              <a:cxn ang="0">
                <a:pos x="46" y="7"/>
              </a:cxn>
              <a:cxn ang="0">
                <a:pos x="53" y="14"/>
              </a:cxn>
              <a:cxn ang="0">
                <a:pos x="46" y="21"/>
              </a:cxn>
              <a:cxn ang="0">
                <a:pos x="38" y="14"/>
              </a:cxn>
              <a:cxn ang="0">
                <a:pos x="55" y="39"/>
              </a:cxn>
              <a:cxn ang="0">
                <a:pos x="48" y="32"/>
              </a:cxn>
              <a:cxn ang="0">
                <a:pos x="55" y="25"/>
              </a:cxn>
              <a:cxn ang="0">
                <a:pos x="63" y="32"/>
              </a:cxn>
              <a:cxn ang="0">
                <a:pos x="55" y="39"/>
              </a:cxn>
              <a:cxn ang="0">
                <a:pos x="57" y="14"/>
              </a:cxn>
              <a:cxn ang="0">
                <a:pos x="64" y="7"/>
              </a:cxn>
              <a:cxn ang="0">
                <a:pos x="71" y="14"/>
              </a:cxn>
              <a:cxn ang="0">
                <a:pos x="64" y="21"/>
              </a:cxn>
              <a:cxn ang="0">
                <a:pos x="57" y="14"/>
              </a:cxn>
              <a:cxn ang="0">
                <a:pos x="74" y="39"/>
              </a:cxn>
              <a:cxn ang="0">
                <a:pos x="67" y="32"/>
              </a:cxn>
              <a:cxn ang="0">
                <a:pos x="74" y="25"/>
              </a:cxn>
              <a:cxn ang="0">
                <a:pos x="81" y="32"/>
              </a:cxn>
              <a:cxn ang="0">
                <a:pos x="74" y="39"/>
              </a:cxn>
              <a:cxn ang="0">
                <a:pos x="83" y="21"/>
              </a:cxn>
              <a:cxn ang="0">
                <a:pos x="76" y="14"/>
              </a:cxn>
              <a:cxn ang="0">
                <a:pos x="83" y="7"/>
              </a:cxn>
              <a:cxn ang="0">
                <a:pos x="90" y="14"/>
              </a:cxn>
              <a:cxn ang="0">
                <a:pos x="83" y="21"/>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8" name="Title 3"/>
          <p:cNvSpPr>
            <a:spLocks noGrp="1"/>
          </p:cNvSpPr>
          <p:nvPr>
            <p:ph type="title"/>
          </p:nvPr>
        </p:nvSpPr>
        <p:spPr>
          <a:xfrm>
            <a:off x="502631" y="362119"/>
            <a:ext cx="11513054" cy="276999"/>
          </a:xfrm>
        </p:spPr>
        <p:txBody>
          <a:bodyPr/>
          <a:lstStyle/>
          <a:p>
            <a:r>
              <a:rPr lang="en-US" sz="18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Smart cities emerge as the result of many smart solutions across all sectors of society</a:t>
            </a:r>
            <a:endPar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Rectangle 20"/>
          <p:cNvSpPr/>
          <p:nvPr/>
        </p:nvSpPr>
        <p:spPr>
          <a:xfrm>
            <a:off x="5877542"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2" name="Rectangle 21"/>
          <p:cNvSpPr/>
          <p:nvPr/>
        </p:nvSpPr>
        <p:spPr>
          <a:xfrm>
            <a:off x="7218846"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3" name="Rectangle 22"/>
          <p:cNvSpPr/>
          <p:nvPr/>
        </p:nvSpPr>
        <p:spPr>
          <a:xfrm>
            <a:off x="11242762"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4" name="Rectangle 23"/>
          <p:cNvSpPr/>
          <p:nvPr/>
        </p:nvSpPr>
        <p:spPr>
          <a:xfrm>
            <a:off x="7889498"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5" name="Rectangle 24"/>
          <p:cNvSpPr/>
          <p:nvPr/>
        </p:nvSpPr>
        <p:spPr>
          <a:xfrm>
            <a:off x="8560150"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6" name="Rectangle 25"/>
          <p:cNvSpPr/>
          <p:nvPr/>
        </p:nvSpPr>
        <p:spPr>
          <a:xfrm>
            <a:off x="4536238"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27" name="TextBox 26"/>
          <p:cNvSpPr txBox="1"/>
          <p:nvPr/>
        </p:nvSpPr>
        <p:spPr>
          <a:xfrm>
            <a:off x="7224988" y="1633484"/>
            <a:ext cx="576000" cy="246221"/>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Health</a:t>
            </a:r>
          </a:p>
        </p:txBody>
      </p:sp>
      <p:sp>
        <p:nvSpPr>
          <p:cNvPr id="28" name="TextBox 27"/>
          <p:cNvSpPr txBox="1"/>
          <p:nvPr/>
        </p:nvSpPr>
        <p:spPr>
          <a:xfrm>
            <a:off x="4536238" y="1633484"/>
            <a:ext cx="576000" cy="246221"/>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Mobility</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9" name="TextBox 28"/>
          <p:cNvSpPr txBox="1"/>
          <p:nvPr/>
        </p:nvSpPr>
        <p:spPr>
          <a:xfrm>
            <a:off x="8564245" y="1633484"/>
            <a:ext cx="576000" cy="246221"/>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Finance</a:t>
            </a:r>
          </a:p>
        </p:txBody>
      </p:sp>
      <p:sp>
        <p:nvSpPr>
          <p:cNvPr id="30" name="TextBox 29"/>
          <p:cNvSpPr txBox="1"/>
          <p:nvPr/>
        </p:nvSpPr>
        <p:spPr>
          <a:xfrm>
            <a:off x="7893531" y="1633484"/>
            <a:ext cx="576000" cy="246221"/>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Education</a:t>
            </a:r>
          </a:p>
        </p:txBody>
      </p:sp>
      <p:sp>
        <p:nvSpPr>
          <p:cNvPr id="31" name="TextBox 30"/>
          <p:cNvSpPr txBox="1"/>
          <p:nvPr/>
        </p:nvSpPr>
        <p:spPr>
          <a:xfrm>
            <a:off x="11242762" y="1633484"/>
            <a:ext cx="576000" cy="369332"/>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Govern-</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err="1">
                <a:solidFill>
                  <a:schemeClr val="bg1"/>
                </a:solidFill>
                <a:latin typeface="Verdana" panose="020B0604030504040204" pitchFamily="34" charset="0"/>
                <a:ea typeface="Verdana" panose="020B0604030504040204" pitchFamily="34" charset="0"/>
                <a:cs typeface="Verdana" panose="020B0604030504040204" pitchFamily="34" charset="0"/>
              </a:rPr>
              <a:t>ment</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TextBox 31"/>
          <p:cNvSpPr txBox="1"/>
          <p:nvPr/>
        </p:nvSpPr>
        <p:spPr>
          <a:xfrm>
            <a:off x="5884799" y="1633484"/>
            <a:ext cx="576000" cy="492443"/>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Energy,</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Water &amp;</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Waste</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5" name="Rectangle 64"/>
          <p:cNvSpPr/>
          <p:nvPr/>
        </p:nvSpPr>
        <p:spPr>
          <a:xfrm>
            <a:off x="9901454"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66" name="TextBox 65"/>
          <p:cNvSpPr txBox="1"/>
          <p:nvPr/>
        </p:nvSpPr>
        <p:spPr>
          <a:xfrm>
            <a:off x="9895547" y="1633484"/>
            <a:ext cx="576000" cy="369332"/>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tail &amp;</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Logistics</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Rectangle 67"/>
          <p:cNvSpPr/>
          <p:nvPr/>
        </p:nvSpPr>
        <p:spPr>
          <a:xfrm>
            <a:off x="9230802"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69" name="TextBox 68"/>
          <p:cNvSpPr txBox="1"/>
          <p:nvPr/>
        </p:nvSpPr>
        <p:spPr>
          <a:xfrm>
            <a:off x="9220492" y="1633484"/>
            <a:ext cx="576000" cy="369332"/>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Tourism &amp; Leisure</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2" name="Rectangle 71"/>
          <p:cNvSpPr/>
          <p:nvPr/>
        </p:nvSpPr>
        <p:spPr>
          <a:xfrm>
            <a:off x="6548194"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73" name="TextBox 72"/>
          <p:cNvSpPr txBox="1"/>
          <p:nvPr/>
        </p:nvSpPr>
        <p:spPr>
          <a:xfrm>
            <a:off x="6554791" y="1633484"/>
            <a:ext cx="576000" cy="369332"/>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Buildings</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amp; Living</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Freeform 48"/>
          <p:cNvSpPr>
            <a:spLocks noChangeAspect="1" noEditPoints="1"/>
          </p:cNvSpPr>
          <p:nvPr/>
        </p:nvSpPr>
        <p:spPr bwMode="gray">
          <a:xfrm>
            <a:off x="6559756" y="1088317"/>
            <a:ext cx="549665" cy="351705"/>
          </a:xfrm>
          <a:custGeom>
            <a:avLst/>
            <a:gdLst/>
            <a:ahLst/>
            <a:cxnLst>
              <a:cxn ang="0">
                <a:pos x="786" y="467"/>
              </a:cxn>
              <a:cxn ang="0">
                <a:pos x="786" y="79"/>
              </a:cxn>
              <a:cxn ang="0">
                <a:pos x="801" y="79"/>
              </a:cxn>
              <a:cxn ang="0">
                <a:pos x="801" y="50"/>
              </a:cxn>
              <a:cxn ang="0">
                <a:pos x="758" y="50"/>
              </a:cxn>
              <a:cxn ang="0">
                <a:pos x="758" y="0"/>
              </a:cxn>
              <a:cxn ang="0">
                <a:pos x="701" y="0"/>
              </a:cxn>
              <a:cxn ang="0">
                <a:pos x="701" y="50"/>
              </a:cxn>
              <a:cxn ang="0">
                <a:pos x="372" y="50"/>
              </a:cxn>
              <a:cxn ang="0">
                <a:pos x="372" y="79"/>
              </a:cxn>
              <a:cxn ang="0">
                <a:pos x="386" y="79"/>
              </a:cxn>
              <a:cxn ang="0">
                <a:pos x="386" y="144"/>
              </a:cxn>
              <a:cxn ang="0">
                <a:pos x="0" y="201"/>
              </a:cxn>
              <a:cxn ang="0">
                <a:pos x="7" y="230"/>
              </a:cxn>
              <a:cxn ang="0">
                <a:pos x="28" y="230"/>
              </a:cxn>
              <a:cxn ang="0">
                <a:pos x="28" y="467"/>
              </a:cxn>
              <a:cxn ang="0">
                <a:pos x="0" y="467"/>
              </a:cxn>
              <a:cxn ang="0">
                <a:pos x="0" y="517"/>
              </a:cxn>
              <a:cxn ang="0">
                <a:pos x="808" y="517"/>
              </a:cxn>
              <a:cxn ang="0">
                <a:pos x="808" y="467"/>
              </a:cxn>
              <a:cxn ang="0">
                <a:pos x="786" y="467"/>
              </a:cxn>
              <a:cxn ang="0">
                <a:pos x="350" y="467"/>
              </a:cxn>
              <a:cxn ang="0">
                <a:pos x="79" y="467"/>
              </a:cxn>
              <a:cxn ang="0">
                <a:pos x="79" y="280"/>
              </a:cxn>
              <a:cxn ang="0">
                <a:pos x="350" y="280"/>
              </a:cxn>
              <a:cxn ang="0">
                <a:pos x="350" y="467"/>
              </a:cxn>
              <a:cxn ang="0">
                <a:pos x="565" y="402"/>
              </a:cxn>
              <a:cxn ang="0">
                <a:pos x="465" y="402"/>
              </a:cxn>
              <a:cxn ang="0">
                <a:pos x="465" y="330"/>
              </a:cxn>
              <a:cxn ang="0">
                <a:pos x="565" y="330"/>
              </a:cxn>
              <a:cxn ang="0">
                <a:pos x="565" y="402"/>
              </a:cxn>
              <a:cxn ang="0">
                <a:pos x="565" y="223"/>
              </a:cxn>
              <a:cxn ang="0">
                <a:pos x="465" y="223"/>
              </a:cxn>
              <a:cxn ang="0">
                <a:pos x="465" y="151"/>
              </a:cxn>
              <a:cxn ang="0">
                <a:pos x="565" y="151"/>
              </a:cxn>
              <a:cxn ang="0">
                <a:pos x="565" y="223"/>
              </a:cxn>
              <a:cxn ang="0">
                <a:pos x="715" y="467"/>
              </a:cxn>
              <a:cxn ang="0">
                <a:pos x="615" y="467"/>
              </a:cxn>
              <a:cxn ang="0">
                <a:pos x="615" y="330"/>
              </a:cxn>
              <a:cxn ang="0">
                <a:pos x="715" y="330"/>
              </a:cxn>
              <a:cxn ang="0">
                <a:pos x="715" y="467"/>
              </a:cxn>
              <a:cxn ang="0">
                <a:pos x="715" y="223"/>
              </a:cxn>
              <a:cxn ang="0">
                <a:pos x="615" y="223"/>
              </a:cxn>
              <a:cxn ang="0">
                <a:pos x="615" y="151"/>
              </a:cxn>
              <a:cxn ang="0">
                <a:pos x="715" y="151"/>
              </a:cxn>
              <a:cxn ang="0">
                <a:pos x="715" y="223"/>
              </a:cxn>
            </a:cxnLst>
            <a:rect l="0" t="0" r="r" b="b"/>
            <a:pathLst>
              <a:path w="808" h="517">
                <a:moveTo>
                  <a:pt x="786" y="467"/>
                </a:moveTo>
                <a:lnTo>
                  <a:pt x="786" y="79"/>
                </a:lnTo>
                <a:lnTo>
                  <a:pt x="801" y="79"/>
                </a:lnTo>
                <a:lnTo>
                  <a:pt x="801" y="50"/>
                </a:lnTo>
                <a:lnTo>
                  <a:pt x="758" y="50"/>
                </a:lnTo>
                <a:lnTo>
                  <a:pt x="758" y="0"/>
                </a:lnTo>
                <a:lnTo>
                  <a:pt x="701" y="0"/>
                </a:lnTo>
                <a:lnTo>
                  <a:pt x="701" y="50"/>
                </a:lnTo>
                <a:lnTo>
                  <a:pt x="372" y="50"/>
                </a:lnTo>
                <a:lnTo>
                  <a:pt x="372" y="79"/>
                </a:lnTo>
                <a:lnTo>
                  <a:pt x="386" y="79"/>
                </a:lnTo>
                <a:lnTo>
                  <a:pt x="386" y="144"/>
                </a:lnTo>
                <a:lnTo>
                  <a:pt x="0" y="201"/>
                </a:lnTo>
                <a:lnTo>
                  <a:pt x="7" y="230"/>
                </a:lnTo>
                <a:lnTo>
                  <a:pt x="28" y="230"/>
                </a:lnTo>
                <a:lnTo>
                  <a:pt x="28" y="467"/>
                </a:lnTo>
                <a:lnTo>
                  <a:pt x="0" y="467"/>
                </a:lnTo>
                <a:lnTo>
                  <a:pt x="0" y="517"/>
                </a:lnTo>
                <a:lnTo>
                  <a:pt x="808" y="517"/>
                </a:lnTo>
                <a:lnTo>
                  <a:pt x="808" y="467"/>
                </a:lnTo>
                <a:lnTo>
                  <a:pt x="786" y="467"/>
                </a:lnTo>
                <a:close/>
                <a:moveTo>
                  <a:pt x="350" y="467"/>
                </a:moveTo>
                <a:lnTo>
                  <a:pt x="79" y="467"/>
                </a:lnTo>
                <a:lnTo>
                  <a:pt x="79" y="280"/>
                </a:lnTo>
                <a:lnTo>
                  <a:pt x="350" y="280"/>
                </a:lnTo>
                <a:lnTo>
                  <a:pt x="350" y="467"/>
                </a:lnTo>
                <a:close/>
                <a:moveTo>
                  <a:pt x="565" y="402"/>
                </a:moveTo>
                <a:lnTo>
                  <a:pt x="465" y="402"/>
                </a:lnTo>
                <a:lnTo>
                  <a:pt x="465" y="330"/>
                </a:lnTo>
                <a:lnTo>
                  <a:pt x="565" y="330"/>
                </a:lnTo>
                <a:lnTo>
                  <a:pt x="565" y="402"/>
                </a:lnTo>
                <a:close/>
                <a:moveTo>
                  <a:pt x="565" y="223"/>
                </a:moveTo>
                <a:lnTo>
                  <a:pt x="465" y="223"/>
                </a:lnTo>
                <a:lnTo>
                  <a:pt x="465" y="151"/>
                </a:lnTo>
                <a:lnTo>
                  <a:pt x="565" y="151"/>
                </a:lnTo>
                <a:lnTo>
                  <a:pt x="565" y="223"/>
                </a:lnTo>
                <a:close/>
                <a:moveTo>
                  <a:pt x="715" y="467"/>
                </a:moveTo>
                <a:lnTo>
                  <a:pt x="615" y="467"/>
                </a:lnTo>
                <a:lnTo>
                  <a:pt x="615" y="330"/>
                </a:lnTo>
                <a:lnTo>
                  <a:pt x="715" y="330"/>
                </a:lnTo>
                <a:lnTo>
                  <a:pt x="715" y="467"/>
                </a:lnTo>
                <a:close/>
                <a:moveTo>
                  <a:pt x="715" y="223"/>
                </a:moveTo>
                <a:lnTo>
                  <a:pt x="615" y="223"/>
                </a:lnTo>
                <a:lnTo>
                  <a:pt x="615" y="151"/>
                </a:lnTo>
                <a:lnTo>
                  <a:pt x="715" y="151"/>
                </a:lnTo>
                <a:lnTo>
                  <a:pt x="715" y="223"/>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46"/>
          <p:cNvSpPr>
            <a:spLocks noChangeAspect="1" noEditPoints="1"/>
          </p:cNvSpPr>
          <p:nvPr/>
        </p:nvSpPr>
        <p:spPr bwMode="gray">
          <a:xfrm>
            <a:off x="131693" y="2471100"/>
            <a:ext cx="276205" cy="189773"/>
          </a:xfrm>
          <a:custGeom>
            <a:avLst/>
            <a:gdLst/>
            <a:ahLst/>
            <a:cxnLst>
              <a:cxn ang="0">
                <a:pos x="33" y="42"/>
              </a:cxn>
              <a:cxn ang="0">
                <a:pos x="36" y="53"/>
              </a:cxn>
              <a:cxn ang="0">
                <a:pos x="48" y="50"/>
              </a:cxn>
              <a:cxn ang="0">
                <a:pos x="67" y="1"/>
              </a:cxn>
              <a:cxn ang="0">
                <a:pos x="33" y="42"/>
              </a:cxn>
              <a:cxn ang="0">
                <a:pos x="41" y="11"/>
              </a:cxn>
              <a:cxn ang="0">
                <a:pos x="46" y="12"/>
              </a:cxn>
              <a:cxn ang="0">
                <a:pos x="52" y="4"/>
              </a:cxn>
              <a:cxn ang="0">
                <a:pos x="41" y="3"/>
              </a:cxn>
              <a:cxn ang="0">
                <a:pos x="0" y="47"/>
              </a:cxn>
              <a:cxn ang="0">
                <a:pos x="0" y="51"/>
              </a:cxn>
              <a:cxn ang="0">
                <a:pos x="5" y="55"/>
              </a:cxn>
              <a:cxn ang="0">
                <a:pos x="8" y="51"/>
              </a:cxn>
              <a:cxn ang="0">
                <a:pos x="8" y="47"/>
              </a:cxn>
              <a:cxn ang="0">
                <a:pos x="41" y="11"/>
              </a:cxn>
              <a:cxn ang="0">
                <a:pos x="71" y="16"/>
              </a:cxn>
              <a:cxn ang="0">
                <a:pos x="67" y="25"/>
              </a:cxn>
              <a:cxn ang="0">
                <a:pos x="74" y="47"/>
              </a:cxn>
              <a:cxn ang="0">
                <a:pos x="74" y="51"/>
              </a:cxn>
              <a:cxn ang="0">
                <a:pos x="77" y="55"/>
              </a:cxn>
              <a:cxn ang="0">
                <a:pos x="78" y="55"/>
              </a:cxn>
              <a:cxn ang="0">
                <a:pos x="82" y="52"/>
              </a:cxn>
              <a:cxn ang="0">
                <a:pos x="82" y="47"/>
              </a:cxn>
              <a:cxn ang="0">
                <a:pos x="71" y="16"/>
              </a:cxn>
            </a:cxnLst>
            <a:rect l="0" t="0" r="r" b="b"/>
            <a:pathLst>
              <a:path w="82" h="56">
                <a:moveTo>
                  <a:pt x="33" y="42"/>
                </a:moveTo>
                <a:cubicBezTo>
                  <a:pt x="31" y="47"/>
                  <a:pt x="32" y="51"/>
                  <a:pt x="36" y="53"/>
                </a:cubicBezTo>
                <a:cubicBezTo>
                  <a:pt x="40" y="56"/>
                  <a:pt x="45" y="55"/>
                  <a:pt x="48" y="50"/>
                </a:cubicBezTo>
                <a:cubicBezTo>
                  <a:pt x="50" y="45"/>
                  <a:pt x="68" y="2"/>
                  <a:pt x="67" y="1"/>
                </a:cubicBezTo>
                <a:cubicBezTo>
                  <a:pt x="65" y="0"/>
                  <a:pt x="36" y="37"/>
                  <a:pt x="33" y="42"/>
                </a:cubicBezTo>
                <a:close/>
                <a:moveTo>
                  <a:pt x="41" y="11"/>
                </a:moveTo>
                <a:cubicBezTo>
                  <a:pt x="43" y="11"/>
                  <a:pt x="45" y="11"/>
                  <a:pt x="46" y="12"/>
                </a:cubicBezTo>
                <a:cubicBezTo>
                  <a:pt x="48" y="9"/>
                  <a:pt x="50" y="7"/>
                  <a:pt x="52" y="4"/>
                </a:cubicBezTo>
                <a:cubicBezTo>
                  <a:pt x="49" y="3"/>
                  <a:pt x="45" y="3"/>
                  <a:pt x="41" y="3"/>
                </a:cubicBezTo>
                <a:cubicBezTo>
                  <a:pt x="18" y="3"/>
                  <a:pt x="0" y="22"/>
                  <a:pt x="0" y="47"/>
                </a:cubicBezTo>
                <a:cubicBezTo>
                  <a:pt x="0" y="48"/>
                  <a:pt x="0" y="50"/>
                  <a:pt x="0" y="51"/>
                </a:cubicBezTo>
                <a:cubicBezTo>
                  <a:pt x="1" y="54"/>
                  <a:pt x="3" y="55"/>
                  <a:pt x="5" y="55"/>
                </a:cubicBezTo>
                <a:cubicBezTo>
                  <a:pt x="7" y="55"/>
                  <a:pt x="9" y="53"/>
                  <a:pt x="8" y="51"/>
                </a:cubicBezTo>
                <a:cubicBezTo>
                  <a:pt x="8" y="50"/>
                  <a:pt x="8" y="48"/>
                  <a:pt x="8" y="47"/>
                </a:cubicBezTo>
                <a:cubicBezTo>
                  <a:pt x="8" y="27"/>
                  <a:pt x="23" y="11"/>
                  <a:pt x="41" y="11"/>
                </a:cubicBezTo>
                <a:close/>
                <a:moveTo>
                  <a:pt x="71" y="16"/>
                </a:moveTo>
                <a:cubicBezTo>
                  <a:pt x="69" y="19"/>
                  <a:pt x="68" y="22"/>
                  <a:pt x="67" y="25"/>
                </a:cubicBezTo>
                <a:cubicBezTo>
                  <a:pt x="71" y="31"/>
                  <a:pt x="74" y="39"/>
                  <a:pt x="74" y="47"/>
                </a:cubicBezTo>
                <a:cubicBezTo>
                  <a:pt x="74" y="48"/>
                  <a:pt x="74" y="50"/>
                  <a:pt x="74" y="51"/>
                </a:cubicBezTo>
                <a:cubicBezTo>
                  <a:pt x="73" y="53"/>
                  <a:pt x="75" y="55"/>
                  <a:pt x="77" y="55"/>
                </a:cubicBezTo>
                <a:cubicBezTo>
                  <a:pt x="77" y="55"/>
                  <a:pt x="78" y="55"/>
                  <a:pt x="78" y="55"/>
                </a:cubicBezTo>
                <a:cubicBezTo>
                  <a:pt x="80" y="55"/>
                  <a:pt x="82" y="54"/>
                  <a:pt x="82" y="52"/>
                </a:cubicBezTo>
                <a:cubicBezTo>
                  <a:pt x="82" y="50"/>
                  <a:pt x="82" y="49"/>
                  <a:pt x="82" y="47"/>
                </a:cubicBezTo>
                <a:cubicBezTo>
                  <a:pt x="82" y="35"/>
                  <a:pt x="78" y="24"/>
                  <a:pt x="71" y="16"/>
                </a:cubicBezTo>
                <a:close/>
              </a:path>
            </a:pathLst>
          </a:custGeom>
          <a:solidFill>
            <a:srgbClr val="00277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2" name="TextBox 1"/>
          <p:cNvSpPr txBox="1"/>
          <p:nvPr/>
        </p:nvSpPr>
        <p:spPr>
          <a:xfrm>
            <a:off x="519004" y="2142926"/>
            <a:ext cx="477695" cy="184666"/>
          </a:xfrm>
          <a:prstGeom prst="rect">
            <a:avLst/>
          </a:prstGeom>
          <a:noFill/>
        </p:spPr>
        <p:txBody>
          <a:bodyPr wrap="none" lIns="0" tIns="0" rIns="0" bIns="0" rtlCol="0">
            <a:spAutoFit/>
          </a:bodyPr>
          <a:lstStyle/>
          <a:p>
            <a:pPr>
              <a:spcBef>
                <a:spcPts val="600"/>
              </a:spcBef>
              <a:buClr>
                <a:schemeClr val="tx2"/>
              </a:buClr>
            </a:pPr>
            <a:r>
              <a:rPr lang="en-US" sz="1200" b="1" dirty="0" smtClean="0">
                <a:latin typeface="Verdana" panose="020B0604030504040204" pitchFamily="34" charset="0"/>
                <a:ea typeface="Verdana" panose="020B0604030504040204" pitchFamily="34" charset="0"/>
                <a:cs typeface="Verdana" panose="020B0604030504040204" pitchFamily="34" charset="0"/>
              </a:rPr>
              <a:t>Goals</a:t>
            </a:r>
          </a:p>
        </p:txBody>
      </p:sp>
      <p:sp>
        <p:nvSpPr>
          <p:cNvPr id="76" name="TextBox 75"/>
          <p:cNvSpPr txBox="1"/>
          <p:nvPr/>
        </p:nvSpPr>
        <p:spPr>
          <a:xfrm>
            <a:off x="521834" y="3880982"/>
            <a:ext cx="940963" cy="184666"/>
          </a:xfrm>
          <a:prstGeom prst="rect">
            <a:avLst/>
          </a:prstGeom>
          <a:noFill/>
        </p:spPr>
        <p:txBody>
          <a:bodyPr wrap="none" lIns="0" tIns="0" rIns="0" bIns="0" rtlCol="0">
            <a:spAutoFit/>
          </a:bodyPr>
          <a:lstStyle/>
          <a:p>
            <a:pPr>
              <a:spcBef>
                <a:spcPts val="600"/>
              </a:spcBef>
              <a:buClr>
                <a:schemeClr val="tx2"/>
              </a:buClr>
            </a:pPr>
            <a:r>
              <a:rPr lang="en-US" sz="1200" b="1" dirty="0" smtClean="0">
                <a:latin typeface="Verdana" panose="020B0604030504040204" pitchFamily="34" charset="0"/>
                <a:ea typeface="Verdana" panose="020B0604030504040204" pitchFamily="34" charset="0"/>
                <a:cs typeface="Verdana" panose="020B0604030504040204" pitchFamily="34" charset="0"/>
              </a:rPr>
              <a:t>Challenges</a:t>
            </a:r>
          </a:p>
        </p:txBody>
      </p:sp>
      <p:sp>
        <p:nvSpPr>
          <p:cNvPr id="58" name="Freeform 22"/>
          <p:cNvSpPr>
            <a:spLocks noChangeAspect="1" noEditPoints="1"/>
          </p:cNvSpPr>
          <p:nvPr/>
        </p:nvSpPr>
        <p:spPr bwMode="gray">
          <a:xfrm>
            <a:off x="9283180" y="1016409"/>
            <a:ext cx="431527" cy="360000"/>
          </a:xfrm>
          <a:custGeom>
            <a:avLst/>
            <a:gdLst/>
            <a:ahLst/>
            <a:cxnLst>
              <a:cxn ang="0">
                <a:pos x="0" y="30"/>
              </a:cxn>
              <a:cxn ang="0">
                <a:pos x="0" y="75"/>
              </a:cxn>
              <a:cxn ang="0">
                <a:pos x="11" y="85"/>
              </a:cxn>
              <a:cxn ang="0">
                <a:pos x="16" y="85"/>
              </a:cxn>
              <a:cxn ang="0">
                <a:pos x="16" y="21"/>
              </a:cxn>
              <a:cxn ang="0">
                <a:pos x="11" y="21"/>
              </a:cxn>
              <a:cxn ang="0">
                <a:pos x="0" y="30"/>
              </a:cxn>
              <a:cxn ang="0">
                <a:pos x="91" y="21"/>
              </a:cxn>
              <a:cxn ang="0">
                <a:pos x="87" y="21"/>
              </a:cxn>
              <a:cxn ang="0">
                <a:pos x="87" y="85"/>
              </a:cxn>
              <a:cxn ang="0">
                <a:pos x="92" y="85"/>
              </a:cxn>
              <a:cxn ang="0">
                <a:pos x="102" y="75"/>
              </a:cxn>
              <a:cxn ang="0">
                <a:pos x="102" y="30"/>
              </a:cxn>
              <a:cxn ang="0">
                <a:pos x="91" y="21"/>
              </a:cxn>
              <a:cxn ang="0">
                <a:pos x="20" y="85"/>
              </a:cxn>
              <a:cxn ang="0">
                <a:pos x="83" y="85"/>
              </a:cxn>
              <a:cxn ang="0">
                <a:pos x="83" y="21"/>
              </a:cxn>
              <a:cxn ang="0">
                <a:pos x="20" y="21"/>
              </a:cxn>
              <a:cxn ang="0">
                <a:pos x="20" y="85"/>
              </a:cxn>
              <a:cxn ang="0">
                <a:pos x="32" y="17"/>
              </a:cxn>
              <a:cxn ang="0">
                <a:pos x="35" y="15"/>
              </a:cxn>
              <a:cxn ang="0">
                <a:pos x="35" y="8"/>
              </a:cxn>
              <a:cxn ang="0">
                <a:pos x="37" y="5"/>
              </a:cxn>
              <a:cxn ang="0">
                <a:pos x="66" y="5"/>
              </a:cxn>
              <a:cxn ang="0">
                <a:pos x="69" y="9"/>
              </a:cxn>
              <a:cxn ang="0">
                <a:pos x="69" y="15"/>
              </a:cxn>
              <a:cxn ang="0">
                <a:pos x="71" y="17"/>
              </a:cxn>
              <a:cxn ang="0">
                <a:pos x="73" y="15"/>
              </a:cxn>
              <a:cxn ang="0">
                <a:pos x="73" y="3"/>
              </a:cxn>
              <a:cxn ang="0">
                <a:pos x="70" y="0"/>
              </a:cxn>
              <a:cxn ang="0">
                <a:pos x="33" y="0"/>
              </a:cxn>
              <a:cxn ang="0">
                <a:pos x="30" y="4"/>
              </a:cxn>
              <a:cxn ang="0">
                <a:pos x="30" y="15"/>
              </a:cxn>
              <a:cxn ang="0">
                <a:pos x="32" y="17"/>
              </a:cxn>
            </a:cxnLst>
            <a:rect l="0" t="0" r="r" b="b"/>
            <a:pathLst>
              <a:path w="102" h="85">
                <a:moveTo>
                  <a:pt x="0" y="30"/>
                </a:moveTo>
                <a:cubicBezTo>
                  <a:pt x="0" y="75"/>
                  <a:pt x="0" y="75"/>
                  <a:pt x="0" y="75"/>
                </a:cubicBezTo>
                <a:cubicBezTo>
                  <a:pt x="0" y="82"/>
                  <a:pt x="4" y="85"/>
                  <a:pt x="11" y="85"/>
                </a:cubicBezTo>
                <a:cubicBezTo>
                  <a:pt x="16" y="85"/>
                  <a:pt x="16" y="85"/>
                  <a:pt x="16" y="85"/>
                </a:cubicBezTo>
                <a:cubicBezTo>
                  <a:pt x="16" y="21"/>
                  <a:pt x="16" y="21"/>
                  <a:pt x="16" y="21"/>
                </a:cubicBezTo>
                <a:cubicBezTo>
                  <a:pt x="11" y="21"/>
                  <a:pt x="11" y="21"/>
                  <a:pt x="11" y="21"/>
                </a:cubicBezTo>
                <a:cubicBezTo>
                  <a:pt x="4" y="21"/>
                  <a:pt x="0" y="24"/>
                  <a:pt x="0" y="30"/>
                </a:cubicBezTo>
                <a:close/>
                <a:moveTo>
                  <a:pt x="91" y="21"/>
                </a:moveTo>
                <a:cubicBezTo>
                  <a:pt x="87" y="21"/>
                  <a:pt x="87" y="21"/>
                  <a:pt x="87" y="21"/>
                </a:cubicBezTo>
                <a:cubicBezTo>
                  <a:pt x="87" y="85"/>
                  <a:pt x="87" y="85"/>
                  <a:pt x="87" y="85"/>
                </a:cubicBezTo>
                <a:cubicBezTo>
                  <a:pt x="92" y="85"/>
                  <a:pt x="92" y="85"/>
                  <a:pt x="92" y="85"/>
                </a:cubicBezTo>
                <a:cubicBezTo>
                  <a:pt x="99" y="85"/>
                  <a:pt x="102" y="82"/>
                  <a:pt x="102" y="75"/>
                </a:cubicBezTo>
                <a:cubicBezTo>
                  <a:pt x="102" y="30"/>
                  <a:pt x="102" y="30"/>
                  <a:pt x="102" y="30"/>
                </a:cubicBezTo>
                <a:cubicBezTo>
                  <a:pt x="102" y="23"/>
                  <a:pt x="98" y="21"/>
                  <a:pt x="91" y="21"/>
                </a:cubicBezTo>
                <a:close/>
                <a:moveTo>
                  <a:pt x="20" y="85"/>
                </a:moveTo>
                <a:cubicBezTo>
                  <a:pt x="83" y="85"/>
                  <a:pt x="83" y="85"/>
                  <a:pt x="83" y="85"/>
                </a:cubicBezTo>
                <a:cubicBezTo>
                  <a:pt x="83" y="21"/>
                  <a:pt x="83" y="21"/>
                  <a:pt x="83" y="21"/>
                </a:cubicBezTo>
                <a:cubicBezTo>
                  <a:pt x="20" y="21"/>
                  <a:pt x="20" y="21"/>
                  <a:pt x="20" y="21"/>
                </a:cubicBezTo>
                <a:lnTo>
                  <a:pt x="20" y="85"/>
                </a:lnTo>
                <a:close/>
                <a:moveTo>
                  <a:pt x="32" y="17"/>
                </a:moveTo>
                <a:cubicBezTo>
                  <a:pt x="35" y="17"/>
                  <a:pt x="35" y="17"/>
                  <a:pt x="35" y="15"/>
                </a:cubicBezTo>
                <a:cubicBezTo>
                  <a:pt x="35" y="8"/>
                  <a:pt x="35" y="8"/>
                  <a:pt x="35" y="8"/>
                </a:cubicBezTo>
                <a:cubicBezTo>
                  <a:pt x="35" y="7"/>
                  <a:pt x="35" y="5"/>
                  <a:pt x="37" y="5"/>
                </a:cubicBezTo>
                <a:cubicBezTo>
                  <a:pt x="66" y="5"/>
                  <a:pt x="66" y="5"/>
                  <a:pt x="66" y="5"/>
                </a:cubicBezTo>
                <a:cubicBezTo>
                  <a:pt x="69" y="5"/>
                  <a:pt x="69" y="6"/>
                  <a:pt x="69" y="9"/>
                </a:cubicBezTo>
                <a:cubicBezTo>
                  <a:pt x="69" y="15"/>
                  <a:pt x="69" y="15"/>
                  <a:pt x="69" y="15"/>
                </a:cubicBezTo>
                <a:cubicBezTo>
                  <a:pt x="69" y="17"/>
                  <a:pt x="69" y="17"/>
                  <a:pt x="71" y="17"/>
                </a:cubicBezTo>
                <a:cubicBezTo>
                  <a:pt x="73" y="17"/>
                  <a:pt x="73" y="17"/>
                  <a:pt x="73" y="15"/>
                </a:cubicBezTo>
                <a:cubicBezTo>
                  <a:pt x="73" y="3"/>
                  <a:pt x="73" y="3"/>
                  <a:pt x="73" y="3"/>
                </a:cubicBezTo>
                <a:cubicBezTo>
                  <a:pt x="73" y="2"/>
                  <a:pt x="73" y="0"/>
                  <a:pt x="70" y="0"/>
                </a:cubicBezTo>
                <a:cubicBezTo>
                  <a:pt x="33" y="0"/>
                  <a:pt x="33" y="0"/>
                  <a:pt x="33" y="0"/>
                </a:cubicBezTo>
                <a:cubicBezTo>
                  <a:pt x="31" y="0"/>
                  <a:pt x="30" y="2"/>
                  <a:pt x="30" y="4"/>
                </a:cubicBezTo>
                <a:cubicBezTo>
                  <a:pt x="30" y="15"/>
                  <a:pt x="30" y="15"/>
                  <a:pt x="30" y="15"/>
                </a:cubicBezTo>
                <a:cubicBezTo>
                  <a:pt x="30" y="17"/>
                  <a:pt x="31" y="17"/>
                  <a:pt x="32" y="17"/>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Rectangle 60"/>
          <p:cNvSpPr/>
          <p:nvPr/>
        </p:nvSpPr>
        <p:spPr>
          <a:xfrm>
            <a:off x="10572106"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62" name="TextBox 61"/>
          <p:cNvSpPr txBox="1"/>
          <p:nvPr/>
        </p:nvSpPr>
        <p:spPr>
          <a:xfrm>
            <a:off x="10563368" y="1633484"/>
            <a:ext cx="576000" cy="615553"/>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Manufac</a:t>
            </a: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a:t>
            </a:r>
            <a:b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turing</a:t>
            </a: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 &amp;</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Construc-tion</a:t>
            </a:r>
            <a:endPar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3" name="Freeform 68"/>
          <p:cNvSpPr>
            <a:spLocks noChangeAspect="1" noEditPoints="1"/>
          </p:cNvSpPr>
          <p:nvPr/>
        </p:nvSpPr>
        <p:spPr bwMode="gray">
          <a:xfrm>
            <a:off x="10598072" y="1059738"/>
            <a:ext cx="407776" cy="370988"/>
          </a:xfrm>
          <a:custGeom>
            <a:avLst/>
            <a:gdLst/>
            <a:ahLst/>
            <a:cxnLst>
              <a:cxn ang="0">
                <a:pos x="110" y="90"/>
              </a:cxn>
              <a:cxn ang="0">
                <a:pos x="90" y="77"/>
              </a:cxn>
              <a:cxn ang="0">
                <a:pos x="54" y="90"/>
              </a:cxn>
              <a:cxn ang="0">
                <a:pos x="30" y="90"/>
              </a:cxn>
              <a:cxn ang="0">
                <a:pos x="0" y="87"/>
              </a:cxn>
              <a:cxn ang="0">
                <a:pos x="22" y="84"/>
              </a:cxn>
              <a:cxn ang="0">
                <a:pos x="30" y="2"/>
              </a:cxn>
              <a:cxn ang="0">
                <a:pos x="43" y="4"/>
              </a:cxn>
              <a:cxn ang="0">
                <a:pos x="49" y="0"/>
              </a:cxn>
              <a:cxn ang="0">
                <a:pos x="49" y="0"/>
              </a:cxn>
              <a:cxn ang="0">
                <a:pos x="87" y="45"/>
              </a:cxn>
              <a:cxn ang="0">
                <a:pos x="107" y="45"/>
              </a:cxn>
              <a:cxn ang="0">
                <a:pos x="110" y="48"/>
              </a:cxn>
              <a:cxn ang="0">
                <a:pos x="49" y="5"/>
              </a:cxn>
              <a:cxn ang="0">
                <a:pos x="48" y="6"/>
              </a:cxn>
              <a:cxn ang="0">
                <a:pos x="46" y="35"/>
              </a:cxn>
              <a:cxn ang="0">
                <a:pos x="45" y="30"/>
              </a:cxn>
              <a:cxn ang="0">
                <a:pos x="56" y="37"/>
              </a:cxn>
              <a:cxn ang="0">
                <a:pos x="52" y="41"/>
              </a:cxn>
              <a:cxn ang="0">
                <a:pos x="46" y="44"/>
              </a:cxn>
              <a:cxn ang="0">
                <a:pos x="41" y="62"/>
              </a:cxn>
              <a:cxn ang="0">
                <a:pos x="58" y="64"/>
              </a:cxn>
              <a:cxn ang="0">
                <a:pos x="61" y="45"/>
              </a:cxn>
              <a:cxn ang="0">
                <a:pos x="68" y="43"/>
              </a:cxn>
              <a:cxn ang="0">
                <a:pos x="74" y="25"/>
              </a:cxn>
              <a:cxn ang="0">
                <a:pos x="79" y="26"/>
              </a:cxn>
              <a:cxn ang="0">
                <a:pos x="82" y="45"/>
              </a:cxn>
              <a:cxn ang="0">
                <a:pos x="90" y="81"/>
              </a:cxn>
              <a:cxn ang="0">
                <a:pos x="90" y="100"/>
              </a:cxn>
              <a:cxn ang="0">
                <a:pos x="90" y="81"/>
              </a:cxn>
              <a:cxn ang="0">
                <a:pos x="33" y="91"/>
              </a:cxn>
              <a:cxn ang="0">
                <a:pos x="51" y="91"/>
              </a:cxn>
            </a:cxnLst>
            <a:rect l="0" t="0" r="r" b="b"/>
            <a:pathLst>
              <a:path w="110" h="100">
                <a:moveTo>
                  <a:pt x="110" y="48"/>
                </a:moveTo>
                <a:cubicBezTo>
                  <a:pt x="110" y="90"/>
                  <a:pt x="110" y="90"/>
                  <a:pt x="110" y="90"/>
                </a:cubicBezTo>
                <a:cubicBezTo>
                  <a:pt x="102" y="90"/>
                  <a:pt x="102" y="90"/>
                  <a:pt x="102" y="90"/>
                </a:cubicBezTo>
                <a:cubicBezTo>
                  <a:pt x="102" y="83"/>
                  <a:pt x="96" y="77"/>
                  <a:pt x="90" y="77"/>
                </a:cubicBezTo>
                <a:cubicBezTo>
                  <a:pt x="83" y="77"/>
                  <a:pt x="77" y="83"/>
                  <a:pt x="77" y="90"/>
                </a:cubicBezTo>
                <a:cubicBezTo>
                  <a:pt x="54" y="90"/>
                  <a:pt x="54" y="90"/>
                  <a:pt x="54" y="90"/>
                </a:cubicBezTo>
                <a:cubicBezTo>
                  <a:pt x="54" y="83"/>
                  <a:pt x="49" y="77"/>
                  <a:pt x="42" y="77"/>
                </a:cubicBezTo>
                <a:cubicBezTo>
                  <a:pt x="35" y="77"/>
                  <a:pt x="30" y="83"/>
                  <a:pt x="30" y="90"/>
                </a:cubicBezTo>
                <a:cubicBezTo>
                  <a:pt x="3" y="90"/>
                  <a:pt x="3" y="90"/>
                  <a:pt x="3" y="90"/>
                </a:cubicBezTo>
                <a:cubicBezTo>
                  <a:pt x="1" y="90"/>
                  <a:pt x="0" y="88"/>
                  <a:pt x="0" y="87"/>
                </a:cubicBezTo>
                <a:cubicBezTo>
                  <a:pt x="0" y="85"/>
                  <a:pt x="1" y="84"/>
                  <a:pt x="3" y="84"/>
                </a:cubicBezTo>
                <a:cubicBezTo>
                  <a:pt x="22" y="84"/>
                  <a:pt x="22" y="84"/>
                  <a:pt x="22" y="84"/>
                </a:cubicBezTo>
                <a:cubicBezTo>
                  <a:pt x="22" y="2"/>
                  <a:pt x="22" y="2"/>
                  <a:pt x="22" y="2"/>
                </a:cubicBezTo>
                <a:cubicBezTo>
                  <a:pt x="30" y="2"/>
                  <a:pt x="30" y="2"/>
                  <a:pt x="30" y="2"/>
                </a:cubicBezTo>
                <a:cubicBezTo>
                  <a:pt x="30" y="42"/>
                  <a:pt x="30" y="42"/>
                  <a:pt x="30" y="42"/>
                </a:cubicBezTo>
                <a:cubicBezTo>
                  <a:pt x="43" y="4"/>
                  <a:pt x="43" y="4"/>
                  <a:pt x="43" y="4"/>
                </a:cubicBezTo>
                <a:cubicBezTo>
                  <a:pt x="44" y="2"/>
                  <a:pt x="45" y="1"/>
                  <a:pt x="46" y="1"/>
                </a:cubicBezTo>
                <a:cubicBezTo>
                  <a:pt x="47" y="0"/>
                  <a:pt x="48" y="0"/>
                  <a:pt x="49" y="0"/>
                </a:cubicBezTo>
                <a:cubicBezTo>
                  <a:pt x="49" y="0"/>
                  <a:pt x="49" y="0"/>
                  <a:pt x="49" y="0"/>
                </a:cubicBezTo>
                <a:cubicBezTo>
                  <a:pt x="49" y="0"/>
                  <a:pt x="49" y="0"/>
                  <a:pt x="49" y="0"/>
                </a:cubicBezTo>
                <a:cubicBezTo>
                  <a:pt x="87" y="0"/>
                  <a:pt x="87" y="0"/>
                  <a:pt x="87" y="0"/>
                </a:cubicBezTo>
                <a:cubicBezTo>
                  <a:pt x="87" y="45"/>
                  <a:pt x="87" y="45"/>
                  <a:pt x="87" y="45"/>
                </a:cubicBezTo>
                <a:cubicBezTo>
                  <a:pt x="89" y="45"/>
                  <a:pt x="89" y="45"/>
                  <a:pt x="89" y="45"/>
                </a:cubicBezTo>
                <a:cubicBezTo>
                  <a:pt x="107" y="45"/>
                  <a:pt x="107" y="45"/>
                  <a:pt x="107" y="45"/>
                </a:cubicBezTo>
                <a:cubicBezTo>
                  <a:pt x="107" y="45"/>
                  <a:pt x="107" y="45"/>
                  <a:pt x="107" y="45"/>
                </a:cubicBezTo>
                <a:cubicBezTo>
                  <a:pt x="109" y="45"/>
                  <a:pt x="110" y="46"/>
                  <a:pt x="110" y="48"/>
                </a:cubicBezTo>
                <a:close/>
                <a:moveTo>
                  <a:pt x="82" y="5"/>
                </a:moveTo>
                <a:cubicBezTo>
                  <a:pt x="49" y="5"/>
                  <a:pt x="49" y="5"/>
                  <a:pt x="49" y="5"/>
                </a:cubicBezTo>
                <a:cubicBezTo>
                  <a:pt x="49" y="5"/>
                  <a:pt x="48" y="5"/>
                  <a:pt x="48" y="5"/>
                </a:cubicBezTo>
                <a:cubicBezTo>
                  <a:pt x="48" y="5"/>
                  <a:pt x="48" y="5"/>
                  <a:pt x="48" y="6"/>
                </a:cubicBezTo>
                <a:cubicBezTo>
                  <a:pt x="37" y="38"/>
                  <a:pt x="37" y="38"/>
                  <a:pt x="37" y="38"/>
                </a:cubicBezTo>
                <a:cubicBezTo>
                  <a:pt x="46" y="35"/>
                  <a:pt x="46" y="35"/>
                  <a:pt x="46" y="35"/>
                </a:cubicBezTo>
                <a:cubicBezTo>
                  <a:pt x="45" y="34"/>
                  <a:pt x="45" y="34"/>
                  <a:pt x="45" y="34"/>
                </a:cubicBezTo>
                <a:cubicBezTo>
                  <a:pt x="44" y="33"/>
                  <a:pt x="44" y="31"/>
                  <a:pt x="45" y="30"/>
                </a:cubicBezTo>
                <a:cubicBezTo>
                  <a:pt x="46" y="29"/>
                  <a:pt x="48" y="29"/>
                  <a:pt x="49" y="30"/>
                </a:cubicBezTo>
                <a:cubicBezTo>
                  <a:pt x="56" y="37"/>
                  <a:pt x="56" y="37"/>
                  <a:pt x="56" y="37"/>
                </a:cubicBezTo>
                <a:cubicBezTo>
                  <a:pt x="57" y="38"/>
                  <a:pt x="57" y="40"/>
                  <a:pt x="56" y="41"/>
                </a:cubicBezTo>
                <a:cubicBezTo>
                  <a:pt x="55" y="42"/>
                  <a:pt x="53" y="42"/>
                  <a:pt x="52" y="41"/>
                </a:cubicBezTo>
                <a:cubicBezTo>
                  <a:pt x="49" y="38"/>
                  <a:pt x="49" y="38"/>
                  <a:pt x="49" y="38"/>
                </a:cubicBezTo>
                <a:cubicBezTo>
                  <a:pt x="46" y="44"/>
                  <a:pt x="46" y="44"/>
                  <a:pt x="46" y="44"/>
                </a:cubicBezTo>
                <a:cubicBezTo>
                  <a:pt x="40" y="51"/>
                  <a:pt x="39" y="56"/>
                  <a:pt x="40" y="59"/>
                </a:cubicBezTo>
                <a:cubicBezTo>
                  <a:pt x="41" y="62"/>
                  <a:pt x="41" y="62"/>
                  <a:pt x="41" y="62"/>
                </a:cubicBezTo>
                <a:cubicBezTo>
                  <a:pt x="43" y="63"/>
                  <a:pt x="44" y="63"/>
                  <a:pt x="46" y="64"/>
                </a:cubicBezTo>
                <a:cubicBezTo>
                  <a:pt x="58" y="64"/>
                  <a:pt x="58" y="64"/>
                  <a:pt x="58" y="64"/>
                </a:cubicBezTo>
                <a:cubicBezTo>
                  <a:pt x="58" y="64"/>
                  <a:pt x="58" y="50"/>
                  <a:pt x="58" y="48"/>
                </a:cubicBezTo>
                <a:cubicBezTo>
                  <a:pt x="58" y="45"/>
                  <a:pt x="61" y="45"/>
                  <a:pt x="61" y="45"/>
                </a:cubicBezTo>
                <a:cubicBezTo>
                  <a:pt x="65" y="45"/>
                  <a:pt x="65" y="45"/>
                  <a:pt x="65" y="45"/>
                </a:cubicBezTo>
                <a:cubicBezTo>
                  <a:pt x="67" y="45"/>
                  <a:pt x="68" y="43"/>
                  <a:pt x="68" y="43"/>
                </a:cubicBezTo>
                <a:cubicBezTo>
                  <a:pt x="68" y="43"/>
                  <a:pt x="68" y="43"/>
                  <a:pt x="68" y="43"/>
                </a:cubicBezTo>
                <a:cubicBezTo>
                  <a:pt x="74" y="25"/>
                  <a:pt x="74" y="25"/>
                  <a:pt x="74" y="25"/>
                </a:cubicBezTo>
                <a:cubicBezTo>
                  <a:pt x="74" y="23"/>
                  <a:pt x="76" y="22"/>
                  <a:pt x="77" y="23"/>
                </a:cubicBezTo>
                <a:cubicBezTo>
                  <a:pt x="79" y="23"/>
                  <a:pt x="80" y="25"/>
                  <a:pt x="79" y="26"/>
                </a:cubicBezTo>
                <a:cubicBezTo>
                  <a:pt x="73" y="45"/>
                  <a:pt x="73" y="45"/>
                  <a:pt x="73" y="45"/>
                </a:cubicBezTo>
                <a:cubicBezTo>
                  <a:pt x="82" y="45"/>
                  <a:pt x="82" y="45"/>
                  <a:pt x="82" y="45"/>
                </a:cubicBezTo>
                <a:lnTo>
                  <a:pt x="82" y="5"/>
                </a:lnTo>
                <a:close/>
                <a:moveTo>
                  <a:pt x="90" y="81"/>
                </a:moveTo>
                <a:cubicBezTo>
                  <a:pt x="84" y="81"/>
                  <a:pt x="80" y="85"/>
                  <a:pt x="80" y="91"/>
                </a:cubicBezTo>
                <a:cubicBezTo>
                  <a:pt x="80" y="96"/>
                  <a:pt x="84" y="100"/>
                  <a:pt x="90" y="100"/>
                </a:cubicBezTo>
                <a:cubicBezTo>
                  <a:pt x="95" y="100"/>
                  <a:pt x="99" y="96"/>
                  <a:pt x="99" y="91"/>
                </a:cubicBezTo>
                <a:cubicBezTo>
                  <a:pt x="99" y="85"/>
                  <a:pt x="95" y="81"/>
                  <a:pt x="90" y="81"/>
                </a:cubicBezTo>
                <a:close/>
                <a:moveTo>
                  <a:pt x="42" y="81"/>
                </a:moveTo>
                <a:cubicBezTo>
                  <a:pt x="37" y="81"/>
                  <a:pt x="33" y="85"/>
                  <a:pt x="33" y="91"/>
                </a:cubicBezTo>
                <a:cubicBezTo>
                  <a:pt x="33" y="96"/>
                  <a:pt x="37" y="100"/>
                  <a:pt x="42" y="100"/>
                </a:cubicBezTo>
                <a:cubicBezTo>
                  <a:pt x="47" y="100"/>
                  <a:pt x="51" y="96"/>
                  <a:pt x="51" y="91"/>
                </a:cubicBezTo>
                <a:cubicBezTo>
                  <a:pt x="51" y="85"/>
                  <a:pt x="47" y="81"/>
                  <a:pt x="42" y="81"/>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 name="TextBox 7"/>
          <p:cNvSpPr txBox="1"/>
          <p:nvPr/>
        </p:nvSpPr>
        <p:spPr>
          <a:xfrm>
            <a:off x="1918629" y="1482852"/>
            <a:ext cx="1493999" cy="615553"/>
          </a:xfrm>
          <a:prstGeom prst="rect">
            <a:avLst/>
          </a:prstGeom>
          <a:noFill/>
        </p:spPr>
        <p:txBody>
          <a:bodyPr wrap="none" lIns="0" tIns="0" rIns="0" bIns="0" rtlCol="0">
            <a:spAutoFit/>
          </a:bodyPr>
          <a:lstStyle/>
          <a:p>
            <a:pPr algn="ctr">
              <a:spcBef>
                <a:spcPts val="600"/>
              </a:spcBef>
              <a:buClr>
                <a:schemeClr val="tx2"/>
              </a:buClr>
            </a:pP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Enabling</a:t>
            </a:r>
            <a:b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disruptive technologies</a:t>
            </a:r>
            <a:b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br>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mp; social innovations </a:t>
            </a:r>
            <a:b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br>
            <a:endPar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ight Arrow 8"/>
          <p:cNvSpPr/>
          <p:nvPr/>
        </p:nvSpPr>
        <p:spPr>
          <a:xfrm>
            <a:off x="3492875" y="1609349"/>
            <a:ext cx="837643" cy="394810"/>
          </a:xfrm>
          <a:prstGeom prst="rightArrow">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enable</a:t>
            </a:r>
          </a:p>
        </p:txBody>
      </p:sp>
      <p:sp>
        <p:nvSpPr>
          <p:cNvPr id="70" name="TextBox 69"/>
          <p:cNvSpPr txBox="1"/>
          <p:nvPr/>
        </p:nvSpPr>
        <p:spPr>
          <a:xfrm>
            <a:off x="663173" y="6131184"/>
            <a:ext cx="3780000" cy="153888"/>
          </a:xfrm>
          <a:prstGeom prst="rect">
            <a:avLst/>
          </a:prstGeom>
          <a:noFill/>
        </p:spPr>
        <p:txBody>
          <a:bodyPr wrap="square" lIns="0" tIns="0" rIns="0" bIns="0" rtlCol="0" anchor="ctr">
            <a:spAutoFit/>
          </a:bodyPr>
          <a:lstStyle/>
          <a:p>
            <a:pPr>
              <a:spcBef>
                <a:spcPts val="600"/>
              </a:spcBef>
              <a:buClr>
                <a:schemeClr val="tx2"/>
              </a:buClr>
            </a:pPr>
            <a:r>
              <a:rPr lang="en-US" sz="10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silience</a:t>
            </a:r>
            <a:endParaRPr lang="en-US" sz="10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71" name="Group 503"/>
          <p:cNvGrpSpPr>
            <a:grpSpLocks noChangeAspect="1"/>
          </p:cNvGrpSpPr>
          <p:nvPr/>
        </p:nvGrpSpPr>
        <p:grpSpPr bwMode="gray">
          <a:xfrm>
            <a:off x="178863" y="6062197"/>
            <a:ext cx="179090" cy="287509"/>
            <a:chOff x="4217988" y="2000250"/>
            <a:chExt cx="708025" cy="1136650"/>
          </a:xfrm>
          <a:solidFill>
            <a:schemeClr val="accent3"/>
          </a:solidFill>
        </p:grpSpPr>
        <p:sp>
          <p:nvSpPr>
            <p:cNvPr id="74" name="Freeform 25"/>
            <p:cNvSpPr>
              <a:spLocks noChangeAspect="1" noEditPoints="1"/>
            </p:cNvSpPr>
            <p:nvPr/>
          </p:nvSpPr>
          <p:spPr bwMode="gray">
            <a:xfrm>
              <a:off x="4217988" y="2489200"/>
              <a:ext cx="708025" cy="647700"/>
            </a:xfrm>
            <a:custGeom>
              <a:avLst/>
              <a:gdLst/>
              <a:ahLst/>
              <a:cxnLst>
                <a:cxn ang="0">
                  <a:pos x="62" y="3"/>
                </a:cxn>
                <a:cxn ang="0">
                  <a:pos x="60" y="0"/>
                </a:cxn>
                <a:cxn ang="0">
                  <a:pos x="2" y="0"/>
                </a:cxn>
                <a:cxn ang="0">
                  <a:pos x="0" y="3"/>
                </a:cxn>
                <a:cxn ang="0">
                  <a:pos x="0" y="26"/>
                </a:cxn>
                <a:cxn ang="0">
                  <a:pos x="31" y="57"/>
                </a:cxn>
                <a:cxn ang="0">
                  <a:pos x="62" y="26"/>
                </a:cxn>
                <a:cxn ang="0">
                  <a:pos x="62" y="3"/>
                </a:cxn>
                <a:cxn ang="0">
                  <a:pos x="36" y="45"/>
                </a:cxn>
                <a:cxn ang="0">
                  <a:pos x="26" y="45"/>
                </a:cxn>
                <a:cxn ang="0">
                  <a:pos x="28" y="27"/>
                </a:cxn>
                <a:cxn ang="0">
                  <a:pos x="24" y="21"/>
                </a:cxn>
                <a:cxn ang="0">
                  <a:pos x="31" y="14"/>
                </a:cxn>
                <a:cxn ang="0">
                  <a:pos x="38" y="21"/>
                </a:cxn>
                <a:cxn ang="0">
                  <a:pos x="34" y="27"/>
                </a:cxn>
                <a:cxn ang="0">
                  <a:pos x="36" y="45"/>
                </a:cxn>
              </a:cxnLst>
              <a:rect l="0" t="0" r="r" b="b"/>
              <a:pathLst>
                <a:path w="62" h="57">
                  <a:moveTo>
                    <a:pt x="62" y="3"/>
                  </a:moveTo>
                  <a:cubicBezTo>
                    <a:pt x="62" y="2"/>
                    <a:pt x="61" y="1"/>
                    <a:pt x="60" y="0"/>
                  </a:cubicBezTo>
                  <a:cubicBezTo>
                    <a:pt x="2" y="0"/>
                    <a:pt x="2" y="0"/>
                    <a:pt x="2" y="0"/>
                  </a:cubicBezTo>
                  <a:cubicBezTo>
                    <a:pt x="1" y="1"/>
                    <a:pt x="0" y="2"/>
                    <a:pt x="0" y="3"/>
                  </a:cubicBezTo>
                  <a:cubicBezTo>
                    <a:pt x="0" y="26"/>
                    <a:pt x="0" y="26"/>
                    <a:pt x="0" y="26"/>
                  </a:cubicBezTo>
                  <a:cubicBezTo>
                    <a:pt x="0" y="43"/>
                    <a:pt x="14" y="57"/>
                    <a:pt x="31" y="57"/>
                  </a:cubicBezTo>
                  <a:cubicBezTo>
                    <a:pt x="48" y="57"/>
                    <a:pt x="62" y="43"/>
                    <a:pt x="62" y="26"/>
                  </a:cubicBezTo>
                  <a:lnTo>
                    <a:pt x="62" y="3"/>
                  </a:lnTo>
                  <a:close/>
                  <a:moveTo>
                    <a:pt x="36" y="45"/>
                  </a:moveTo>
                  <a:cubicBezTo>
                    <a:pt x="26" y="45"/>
                    <a:pt x="26" y="45"/>
                    <a:pt x="26" y="45"/>
                  </a:cubicBezTo>
                  <a:cubicBezTo>
                    <a:pt x="28" y="27"/>
                    <a:pt x="28" y="27"/>
                    <a:pt x="28" y="27"/>
                  </a:cubicBezTo>
                  <a:cubicBezTo>
                    <a:pt x="25" y="26"/>
                    <a:pt x="24" y="24"/>
                    <a:pt x="24" y="21"/>
                  </a:cubicBezTo>
                  <a:cubicBezTo>
                    <a:pt x="24" y="17"/>
                    <a:pt x="27" y="14"/>
                    <a:pt x="31" y="14"/>
                  </a:cubicBezTo>
                  <a:cubicBezTo>
                    <a:pt x="35" y="14"/>
                    <a:pt x="38" y="17"/>
                    <a:pt x="38" y="21"/>
                  </a:cubicBezTo>
                  <a:cubicBezTo>
                    <a:pt x="38" y="24"/>
                    <a:pt x="37" y="26"/>
                    <a:pt x="34" y="27"/>
                  </a:cubicBezTo>
                  <a:lnTo>
                    <a:pt x="36"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sp>
          <p:nvSpPr>
            <p:cNvPr id="75" name="Freeform 26"/>
            <p:cNvSpPr>
              <a:spLocks noChangeAspect="1"/>
            </p:cNvSpPr>
            <p:nvPr/>
          </p:nvSpPr>
          <p:spPr bwMode="gray">
            <a:xfrm>
              <a:off x="4286251" y="2000250"/>
              <a:ext cx="571500" cy="454025"/>
            </a:xfrm>
            <a:custGeom>
              <a:avLst/>
              <a:gdLst/>
              <a:ahLst/>
              <a:cxnLst>
                <a:cxn ang="0">
                  <a:pos x="11" y="25"/>
                </a:cxn>
                <a:cxn ang="0">
                  <a:pos x="25" y="11"/>
                </a:cxn>
                <a:cxn ang="0">
                  <a:pos x="39" y="25"/>
                </a:cxn>
                <a:cxn ang="0">
                  <a:pos x="39" y="40"/>
                </a:cxn>
                <a:cxn ang="0">
                  <a:pos x="50" y="40"/>
                </a:cxn>
                <a:cxn ang="0">
                  <a:pos x="50" y="25"/>
                </a:cxn>
                <a:cxn ang="0">
                  <a:pos x="25" y="0"/>
                </a:cxn>
                <a:cxn ang="0">
                  <a:pos x="0" y="25"/>
                </a:cxn>
                <a:cxn ang="0">
                  <a:pos x="0" y="40"/>
                </a:cxn>
                <a:cxn ang="0">
                  <a:pos x="11" y="40"/>
                </a:cxn>
                <a:cxn ang="0">
                  <a:pos x="11" y="25"/>
                </a:cxn>
              </a:cxnLst>
              <a:rect l="0" t="0" r="r" b="b"/>
              <a:pathLst>
                <a:path w="50" h="40">
                  <a:moveTo>
                    <a:pt x="11" y="25"/>
                  </a:moveTo>
                  <a:cubicBezTo>
                    <a:pt x="11" y="17"/>
                    <a:pt x="17" y="11"/>
                    <a:pt x="25" y="11"/>
                  </a:cubicBezTo>
                  <a:cubicBezTo>
                    <a:pt x="33" y="11"/>
                    <a:pt x="39" y="17"/>
                    <a:pt x="39" y="25"/>
                  </a:cubicBezTo>
                  <a:cubicBezTo>
                    <a:pt x="39" y="40"/>
                    <a:pt x="39" y="40"/>
                    <a:pt x="39" y="40"/>
                  </a:cubicBezTo>
                  <a:cubicBezTo>
                    <a:pt x="50" y="40"/>
                    <a:pt x="50" y="40"/>
                    <a:pt x="50" y="40"/>
                  </a:cubicBezTo>
                  <a:cubicBezTo>
                    <a:pt x="50" y="25"/>
                    <a:pt x="50" y="25"/>
                    <a:pt x="50" y="25"/>
                  </a:cubicBezTo>
                  <a:cubicBezTo>
                    <a:pt x="50" y="11"/>
                    <a:pt x="39" y="0"/>
                    <a:pt x="25" y="0"/>
                  </a:cubicBezTo>
                  <a:cubicBezTo>
                    <a:pt x="11" y="0"/>
                    <a:pt x="0" y="11"/>
                    <a:pt x="0" y="25"/>
                  </a:cubicBezTo>
                  <a:cubicBezTo>
                    <a:pt x="0" y="40"/>
                    <a:pt x="0" y="40"/>
                    <a:pt x="0" y="40"/>
                  </a:cubicBezTo>
                  <a:cubicBezTo>
                    <a:pt x="11" y="40"/>
                    <a:pt x="11" y="40"/>
                    <a:pt x="11" y="40"/>
                  </a:cubicBezTo>
                  <a:lnTo>
                    <a:pt x="11"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Frutiger Next Pro Light"/>
              </a:endParaRPr>
            </a:p>
          </p:txBody>
        </p:sp>
      </p:grpSp>
      <p:sp>
        <p:nvSpPr>
          <p:cNvPr id="77" name="Rectangle 76"/>
          <p:cNvSpPr/>
          <p:nvPr/>
        </p:nvSpPr>
        <p:spPr>
          <a:xfrm>
            <a:off x="5206890" y="1579661"/>
            <a:ext cx="576000" cy="4946331"/>
          </a:xfrm>
          <a:prstGeom prst="rect">
            <a:avLst/>
          </a:prstGeom>
          <a:solidFill>
            <a:schemeClr val="accent3">
              <a:alpha val="57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defTabSz="957610"/>
            <a:endParaRPr lang="en-US" sz="1400" dirty="0">
              <a:solidFill>
                <a:schemeClr val="tx2"/>
              </a:solidFill>
              <a:latin typeface="Frutiger Next Pro Light"/>
            </a:endParaRPr>
          </a:p>
        </p:txBody>
      </p:sp>
      <p:sp>
        <p:nvSpPr>
          <p:cNvPr id="80" name="TextBox 79"/>
          <p:cNvSpPr txBox="1"/>
          <p:nvPr/>
        </p:nvSpPr>
        <p:spPr>
          <a:xfrm>
            <a:off x="5209500" y="1633484"/>
            <a:ext cx="576000" cy="246221"/>
          </a:xfrm>
          <a:prstGeom prst="rect">
            <a:avLst/>
          </a:prstGeom>
          <a:noFill/>
        </p:spPr>
        <p:txBody>
          <a:bodyPr wrap="square" lIns="0" tIns="0" rIns="0" bIns="0" rtlCol="0">
            <a:spAutoFit/>
          </a:bodyPr>
          <a:lstStyle/>
          <a:p>
            <a:pPr algn="ctr">
              <a:spcBef>
                <a:spcPts val="600"/>
              </a:spcBef>
              <a:buClr>
                <a:schemeClr val="tx2"/>
              </a:buClr>
            </a:pP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mart</a:t>
            </a:r>
            <a: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t/>
            </a:r>
            <a:br>
              <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8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Safety</a:t>
            </a:r>
            <a:endParaRPr lang="en-US" sz="8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2" name="Freeform 37"/>
          <p:cNvSpPr>
            <a:spLocks noChangeAspect="1" noEditPoints="1"/>
          </p:cNvSpPr>
          <p:nvPr/>
        </p:nvSpPr>
        <p:spPr bwMode="gray">
          <a:xfrm>
            <a:off x="5316321" y="1159477"/>
            <a:ext cx="359455" cy="203568"/>
          </a:xfrm>
          <a:custGeom>
            <a:avLst/>
            <a:gdLst/>
            <a:ahLst/>
            <a:cxnLst>
              <a:cxn ang="0">
                <a:pos x="41" y="0"/>
              </a:cxn>
              <a:cxn ang="0">
                <a:pos x="0" y="23"/>
              </a:cxn>
              <a:cxn ang="0">
                <a:pos x="41" y="46"/>
              </a:cxn>
              <a:cxn ang="0">
                <a:pos x="82" y="23"/>
              </a:cxn>
              <a:cxn ang="0">
                <a:pos x="41" y="0"/>
              </a:cxn>
              <a:cxn ang="0">
                <a:pos x="41" y="40"/>
              </a:cxn>
              <a:cxn ang="0">
                <a:pos x="23" y="23"/>
              </a:cxn>
              <a:cxn ang="0">
                <a:pos x="41" y="5"/>
              </a:cxn>
              <a:cxn ang="0">
                <a:pos x="59" y="23"/>
              </a:cxn>
              <a:cxn ang="0">
                <a:pos x="41" y="40"/>
              </a:cxn>
              <a:cxn ang="0">
                <a:pos x="41" y="23"/>
              </a:cxn>
              <a:cxn ang="0">
                <a:pos x="41" y="14"/>
              </a:cxn>
              <a:cxn ang="0">
                <a:pos x="32" y="23"/>
              </a:cxn>
              <a:cxn ang="0">
                <a:pos x="41" y="32"/>
              </a:cxn>
              <a:cxn ang="0">
                <a:pos x="50" y="23"/>
              </a:cxn>
              <a:cxn ang="0">
                <a:pos x="41" y="23"/>
              </a:cxn>
            </a:cxnLst>
            <a:rect l="0" t="0" r="r" b="b"/>
            <a:pathLst>
              <a:path w="82" h="46">
                <a:moveTo>
                  <a:pt x="41" y="0"/>
                </a:moveTo>
                <a:cubicBezTo>
                  <a:pt x="14" y="0"/>
                  <a:pt x="0" y="20"/>
                  <a:pt x="0" y="23"/>
                </a:cubicBezTo>
                <a:cubicBezTo>
                  <a:pt x="0" y="26"/>
                  <a:pt x="14" y="46"/>
                  <a:pt x="41" y="46"/>
                </a:cubicBezTo>
                <a:cubicBezTo>
                  <a:pt x="68" y="46"/>
                  <a:pt x="82" y="26"/>
                  <a:pt x="82" y="23"/>
                </a:cubicBezTo>
                <a:cubicBezTo>
                  <a:pt x="82" y="20"/>
                  <a:pt x="68" y="0"/>
                  <a:pt x="41" y="0"/>
                </a:cubicBezTo>
                <a:close/>
                <a:moveTo>
                  <a:pt x="41" y="40"/>
                </a:moveTo>
                <a:cubicBezTo>
                  <a:pt x="31" y="40"/>
                  <a:pt x="23" y="32"/>
                  <a:pt x="23" y="23"/>
                </a:cubicBezTo>
                <a:cubicBezTo>
                  <a:pt x="23" y="13"/>
                  <a:pt x="31" y="5"/>
                  <a:pt x="41" y="5"/>
                </a:cubicBezTo>
                <a:cubicBezTo>
                  <a:pt x="51" y="5"/>
                  <a:pt x="59" y="13"/>
                  <a:pt x="59" y="23"/>
                </a:cubicBezTo>
                <a:cubicBezTo>
                  <a:pt x="59" y="32"/>
                  <a:pt x="51" y="40"/>
                  <a:pt x="41" y="40"/>
                </a:cubicBezTo>
                <a:close/>
                <a:moveTo>
                  <a:pt x="41" y="23"/>
                </a:moveTo>
                <a:cubicBezTo>
                  <a:pt x="39" y="21"/>
                  <a:pt x="43" y="14"/>
                  <a:pt x="41" y="14"/>
                </a:cubicBezTo>
                <a:cubicBezTo>
                  <a:pt x="36" y="14"/>
                  <a:pt x="32" y="18"/>
                  <a:pt x="32" y="23"/>
                </a:cubicBezTo>
                <a:cubicBezTo>
                  <a:pt x="32" y="28"/>
                  <a:pt x="36" y="32"/>
                  <a:pt x="41" y="32"/>
                </a:cubicBezTo>
                <a:cubicBezTo>
                  <a:pt x="46" y="32"/>
                  <a:pt x="50" y="28"/>
                  <a:pt x="50" y="23"/>
                </a:cubicBezTo>
                <a:cubicBezTo>
                  <a:pt x="50" y="21"/>
                  <a:pt x="42" y="24"/>
                  <a:pt x="41" y="2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0093307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 smart city is the result of the efforts of many stakeholders, working together in partnerships of different shape and form. The citizen / user is at the center of the map, indicating that successful smart cities are always user-centric.</a:t>
            </a:r>
            <a:endPar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p:cNvSpPr>
            <a:spLocks noGrp="1"/>
          </p:cNvSpPr>
          <p:nvPr>
            <p:ph type="title"/>
          </p:nvPr>
        </p:nvSpPr>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Smart City actor map</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Footer Placeholder 4"/>
          <p:cNvSpPr>
            <a:spLocks noGrp="1"/>
          </p:cNvSpPr>
          <p:nvPr>
            <p:ph type="ftr" sz="quarter" idx="16"/>
          </p:nvPr>
        </p:nvSpPr>
        <p:spPr>
          <a:xfrm>
            <a:off x="791358" y="6641002"/>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0" name="Slide Number Placeholder 5"/>
          <p:cNvSpPr>
            <a:spLocks noGrp="1"/>
          </p:cNvSpPr>
          <p:nvPr>
            <p:ph type="sldNum" sz="quarter" idx="17"/>
          </p:nvPr>
        </p:nvSpPr>
        <p:spPr>
          <a:xfrm>
            <a:off x="511175" y="6594835"/>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5</a:t>
            </a:fld>
            <a:endParaRPr lang="en-US" sz="1400" b="1" dirty="0">
              <a:solidFill>
                <a:schemeClr val="accent3"/>
              </a:solidFill>
              <a:latin typeface="Calibri" panose="020F0502020204030204" pitchFamily="34" charset="0"/>
            </a:endParaRPr>
          </a:p>
        </p:txBody>
      </p:sp>
      <p:sp>
        <p:nvSpPr>
          <p:cNvPr id="56" name="Oval 55"/>
          <p:cNvSpPr>
            <a:spLocks noChangeArrowheads="1"/>
          </p:cNvSpPr>
          <p:nvPr/>
        </p:nvSpPr>
        <p:spPr bwMode="auto">
          <a:xfrm>
            <a:off x="228600" y="1410888"/>
            <a:ext cx="11682663" cy="4967279"/>
          </a:xfrm>
          <a:prstGeom prst="ellipse">
            <a:avLst/>
          </a:prstGeom>
          <a:solidFill>
            <a:srgbClr val="575757">
              <a:lumMod val="20000"/>
              <a:lumOff val="80000"/>
            </a:srgbClr>
          </a:solidFill>
          <a:ln w="25400" cap="flat" cmpd="sng" algn="ctr">
            <a:noFill/>
            <a:prstDash val="solid"/>
            <a:headEnd/>
            <a:tailEnd/>
          </a:ln>
          <a:effectLst/>
        </p:spPr>
        <p:txBody>
          <a:bodyPr wrap="none" lIns="25809" tIns="25809" rIns="25809" bIns="2684117" anchor="t"/>
          <a:lstStyle/>
          <a:p>
            <a:pPr marL="0" marR="0" lvl="0" indent="0" algn="ctr" defTabSz="655579"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2776"/>
              </a:solidFill>
              <a:effectLst/>
              <a:uLnTx/>
              <a:uFillTx/>
              <a:latin typeface="Frutiger Next Pro Light"/>
              <a:ea typeface="Open Sans" panose="020B0606030504020204" pitchFamily="34" charset="0"/>
              <a:cs typeface="Open Sans" panose="020B0606030504020204" pitchFamily="34" charset="0"/>
            </a:endParaRPr>
          </a:p>
        </p:txBody>
      </p:sp>
      <p:sp>
        <p:nvSpPr>
          <p:cNvPr id="61" name="Oval 5"/>
          <p:cNvSpPr>
            <a:spLocks noChangeArrowheads="1"/>
          </p:cNvSpPr>
          <p:nvPr/>
        </p:nvSpPr>
        <p:spPr bwMode="auto">
          <a:xfrm>
            <a:off x="3590838" y="1523212"/>
            <a:ext cx="1188000" cy="1188000"/>
          </a:xfrm>
          <a:prstGeom prst="ellipse">
            <a:avLst/>
          </a:prstGeom>
          <a:solidFill>
            <a:schemeClr val="accent4"/>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0" tIns="0" rIns="0"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Public</a:t>
            </a:r>
          </a:p>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Housing</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Associations</a:t>
            </a:r>
            <a:endParaRPr kumimoji="0" lang="en-US"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2" name="Oval 5"/>
          <p:cNvSpPr>
            <a:spLocks noChangeArrowheads="1"/>
          </p:cNvSpPr>
          <p:nvPr/>
        </p:nvSpPr>
        <p:spPr bwMode="auto">
          <a:xfrm>
            <a:off x="10768570" y="3300527"/>
            <a:ext cx="1188000" cy="1188000"/>
          </a:xfrm>
          <a:prstGeom prst="ellipse">
            <a:avLst/>
          </a:prstGeom>
          <a:solidFill>
            <a:srgbClr val="002776"/>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Investors</a:t>
            </a:r>
            <a:endParaRPr kumimoji="0" lang="en-US" sz="9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3" name="Oval 5"/>
          <p:cNvSpPr>
            <a:spLocks noChangeArrowheads="1"/>
          </p:cNvSpPr>
          <p:nvPr/>
        </p:nvSpPr>
        <p:spPr bwMode="auto">
          <a:xfrm>
            <a:off x="2333743" y="1790273"/>
            <a:ext cx="1188000" cy="1188000"/>
          </a:xfrm>
          <a:prstGeom prst="ellipse">
            <a:avLst/>
          </a:prstGeom>
          <a:solidFill>
            <a:schemeClr val="accent3"/>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Universities</a:t>
            </a:r>
            <a:r>
              <a:rPr kumimoji="0" lang="en-US" sz="900" b="1" i="0" u="none" strike="noStrike" kern="0" cap="none" spc="0" normalizeH="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 </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 S</a:t>
            </a:r>
            <a:r>
              <a:rPr lang="en-US" sz="900" b="1" kern="0" baseline="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hools</a:t>
            </a:r>
            <a:endParaRPr kumimoji="0" lang="en-US"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5" name="Oval 5"/>
          <p:cNvSpPr>
            <a:spLocks noChangeArrowheads="1"/>
          </p:cNvSpPr>
          <p:nvPr/>
        </p:nvSpPr>
        <p:spPr bwMode="auto">
          <a:xfrm>
            <a:off x="1108177" y="2300919"/>
            <a:ext cx="1188000" cy="1188000"/>
          </a:xfrm>
          <a:prstGeom prst="ellipse">
            <a:avLst/>
          </a:prstGeom>
          <a:solidFill>
            <a:schemeClr val="accent1"/>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Research</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Institutions</a:t>
            </a:r>
            <a:endParaRPr lang="en-US" sz="900" b="1" kern="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Oval 5"/>
          <p:cNvSpPr>
            <a:spLocks noChangeArrowheads="1"/>
          </p:cNvSpPr>
          <p:nvPr/>
        </p:nvSpPr>
        <p:spPr bwMode="auto">
          <a:xfrm>
            <a:off x="194788" y="3300527"/>
            <a:ext cx="1188000" cy="1188000"/>
          </a:xfrm>
          <a:prstGeom prst="ellipse">
            <a:avLst/>
          </a:prstGeom>
          <a:solidFill>
            <a:schemeClr val="accent2"/>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Bef>
                <a:spcPts val="430"/>
              </a:spcBef>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Startup</a:t>
            </a:r>
          </a:p>
          <a:p>
            <a:pPr algn="ctr" defTabSz="655579" fontAlgn="auto">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Incubators</a:t>
            </a:r>
            <a:endParaRPr lang="en-US" sz="9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Oval 5"/>
          <p:cNvSpPr>
            <a:spLocks noChangeArrowheads="1"/>
          </p:cNvSpPr>
          <p:nvPr/>
        </p:nvSpPr>
        <p:spPr bwMode="auto">
          <a:xfrm>
            <a:off x="7461768" y="1538645"/>
            <a:ext cx="1188000" cy="1188000"/>
          </a:xfrm>
          <a:prstGeom prst="ellipse">
            <a:avLst/>
          </a:prstGeom>
          <a:solidFill>
            <a:schemeClr val="accent2"/>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0" tIns="0" rIns="0" bIns="0" anchor="ctr" anchorCtr="1">
            <a:noAutofit/>
          </a:bodyPr>
          <a:lstStyle/>
          <a:p>
            <a:pPr algn="ctr" defTabSz="655579" fontAlgn="auto">
              <a:spcBef>
                <a:spcPts val="430"/>
              </a:spcBef>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Health Care Providers</a:t>
            </a:r>
            <a:endParaRPr lang="en-US" sz="9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8" name="Oval 5"/>
          <p:cNvSpPr>
            <a:spLocks noChangeArrowheads="1"/>
          </p:cNvSpPr>
          <p:nvPr/>
        </p:nvSpPr>
        <p:spPr bwMode="auto">
          <a:xfrm>
            <a:off x="8700788" y="1816615"/>
            <a:ext cx="1188000" cy="1188000"/>
          </a:xfrm>
          <a:prstGeom prst="ellipse">
            <a:avLst/>
          </a:prstGeom>
          <a:solidFill>
            <a:schemeClr val="accent4"/>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Bef>
                <a:spcPts val="430"/>
              </a:spcBef>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Energy Providers</a:t>
            </a:r>
            <a:endParaRPr lang="en-US" sz="9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Oval 5"/>
          <p:cNvSpPr>
            <a:spLocks noChangeArrowheads="1"/>
          </p:cNvSpPr>
          <p:nvPr/>
        </p:nvSpPr>
        <p:spPr bwMode="auto">
          <a:xfrm>
            <a:off x="1095956" y="4302941"/>
            <a:ext cx="1188000" cy="1188000"/>
          </a:xfrm>
          <a:prstGeom prst="ellipse">
            <a:avLst/>
          </a:prstGeom>
          <a:solidFill>
            <a:schemeClr val="accent3"/>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0" tIns="0" rIns="0" bIns="0" anchor="ctr" anchorCtr="1">
            <a:noAutofit/>
          </a:bodyPr>
          <a:lstStyle/>
          <a:p>
            <a:pPr algn="ctr" defTabSz="655579" fontAlgn="auto">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Digital</a:t>
            </a:r>
          </a:p>
          <a:p>
            <a:pPr algn="ctr" defTabSz="655579" fontAlgn="auto">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Agencies</a:t>
            </a:r>
            <a:endParaRPr lang="en-US" sz="9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Oval 5"/>
          <p:cNvSpPr>
            <a:spLocks noChangeArrowheads="1"/>
          </p:cNvSpPr>
          <p:nvPr/>
        </p:nvSpPr>
        <p:spPr bwMode="auto">
          <a:xfrm>
            <a:off x="6170095" y="1373343"/>
            <a:ext cx="1188000" cy="1188000"/>
          </a:xfrm>
          <a:prstGeom prst="ellipse">
            <a:avLst/>
          </a:prstGeom>
          <a:solidFill>
            <a:srgbClr val="00A1DE"/>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State /</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National</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Government</a:t>
            </a:r>
            <a:endParaRPr lang="en-US" sz="900" b="1" kern="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1" name="Oval 5"/>
          <p:cNvSpPr>
            <a:spLocks noChangeArrowheads="1"/>
          </p:cNvSpPr>
          <p:nvPr/>
        </p:nvSpPr>
        <p:spPr bwMode="auto">
          <a:xfrm>
            <a:off x="4866390" y="1386557"/>
            <a:ext cx="1188000" cy="1188000"/>
          </a:xfrm>
          <a:prstGeom prst="ellipse">
            <a:avLst/>
          </a:prstGeom>
          <a:solidFill>
            <a:schemeClr val="accent1"/>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Bef>
                <a:spcPts val="430"/>
              </a:spcBef>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City</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Government</a:t>
            </a:r>
            <a:endParaRPr lang="en-US" sz="900" b="1" kern="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2" name="Oval 5"/>
          <p:cNvSpPr>
            <a:spLocks noChangeArrowheads="1"/>
          </p:cNvSpPr>
          <p:nvPr/>
        </p:nvSpPr>
        <p:spPr bwMode="auto">
          <a:xfrm>
            <a:off x="2333423" y="4808030"/>
            <a:ext cx="1188000" cy="1188000"/>
          </a:xfrm>
          <a:prstGeom prst="ellipse">
            <a:avLst/>
          </a:prstGeom>
          <a:solidFill>
            <a:schemeClr val="accent4"/>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Bef>
                <a:spcPts val="430"/>
              </a:spcBef>
              <a:spcAft>
                <a:spcPts val="0"/>
              </a:spcAf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tailers</a:t>
            </a:r>
            <a:endParaRPr lang="en-US" sz="9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3" name="Oval 5"/>
          <p:cNvSpPr>
            <a:spLocks noChangeArrowheads="1"/>
          </p:cNvSpPr>
          <p:nvPr/>
        </p:nvSpPr>
        <p:spPr bwMode="auto">
          <a:xfrm>
            <a:off x="3590646" y="5071583"/>
            <a:ext cx="1188000" cy="1188000"/>
          </a:xfrm>
          <a:prstGeom prst="ellipse">
            <a:avLst/>
          </a:prstGeom>
          <a:solidFill>
            <a:schemeClr val="accent1"/>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0" tIns="0" rIns="0" bIns="0" anchor="ctr" anchorCtr="1">
            <a:noAutofit/>
          </a:bodyPr>
          <a:lstStyle/>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Manufacturers</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amp; Construction</a:t>
            </a:r>
          </a:p>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companies</a:t>
            </a:r>
          </a:p>
        </p:txBody>
      </p:sp>
      <p:sp>
        <p:nvSpPr>
          <p:cNvPr id="104" name="Oval 5"/>
          <p:cNvSpPr>
            <a:spLocks noChangeArrowheads="1"/>
          </p:cNvSpPr>
          <p:nvPr/>
        </p:nvSpPr>
        <p:spPr bwMode="auto">
          <a:xfrm>
            <a:off x="9897915" y="4293401"/>
            <a:ext cx="1188000" cy="1188000"/>
          </a:xfrm>
          <a:prstGeom prst="ellipse">
            <a:avLst/>
          </a:prstGeom>
          <a:solidFill>
            <a:schemeClr val="accent2"/>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Banks / Insurance</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companies</a:t>
            </a:r>
            <a:endParaRPr kumimoji="0" lang="en-US"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5" name="Oval 5"/>
          <p:cNvSpPr>
            <a:spLocks noChangeArrowheads="1"/>
          </p:cNvSpPr>
          <p:nvPr/>
        </p:nvSpPr>
        <p:spPr bwMode="auto">
          <a:xfrm>
            <a:off x="8714327" y="4779554"/>
            <a:ext cx="1188000" cy="1188000"/>
          </a:xfrm>
          <a:prstGeom prst="ellipse">
            <a:avLst/>
          </a:prstGeom>
          <a:solidFill>
            <a:schemeClr val="accent4"/>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Hotels, Museums, </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Restaurants, </a:t>
            </a: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heaters, Stadiums</a:t>
            </a:r>
            <a:endParaRPr kumimoji="0" lang="en-US"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6" name="Oval 5"/>
          <p:cNvSpPr>
            <a:spLocks noChangeArrowheads="1"/>
          </p:cNvSpPr>
          <p:nvPr/>
        </p:nvSpPr>
        <p:spPr bwMode="auto">
          <a:xfrm>
            <a:off x="7464828" y="5035487"/>
            <a:ext cx="1188000" cy="1188000"/>
          </a:xfrm>
          <a:prstGeom prst="ellipse">
            <a:avLst/>
          </a:prstGeom>
          <a:solidFill>
            <a:srgbClr val="00A1DE"/>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algn="ctr" defTabSz="655579" fontAlgn="auto">
              <a:spcAft>
                <a:spcPts val="0"/>
              </a:spcAft>
              <a:defRPr/>
            </a:pP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Telecom</a:t>
            </a:r>
            <a:b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900" b="1" kern="0" dirty="0" smtClean="0">
                <a:solidFill>
                  <a:srgbClr val="FFFFFF"/>
                </a:solidFill>
                <a:latin typeface="Verdana" panose="020B0604030504040204" pitchFamily="34" charset="0"/>
                <a:ea typeface="Verdana" panose="020B0604030504040204" pitchFamily="34" charset="0"/>
                <a:cs typeface="Verdana" panose="020B0604030504040204" pitchFamily="34" charset="0"/>
              </a:rPr>
              <a:t>Providers</a:t>
            </a:r>
            <a:endParaRPr lang="en-US" sz="900" b="1" kern="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07" name="Oval 5"/>
          <p:cNvSpPr>
            <a:spLocks noChangeArrowheads="1"/>
          </p:cNvSpPr>
          <p:nvPr/>
        </p:nvSpPr>
        <p:spPr bwMode="auto">
          <a:xfrm>
            <a:off x="4866390" y="5189508"/>
            <a:ext cx="1188000" cy="1188000"/>
          </a:xfrm>
          <a:prstGeom prst="ellipse">
            <a:avLst/>
          </a:prstGeom>
          <a:solidFill>
            <a:schemeClr val="accent2"/>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Logistics</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dirty="0" smtClean="0">
                <a:solidFill>
                  <a:schemeClr val="bg1"/>
                </a:solidFill>
                <a:latin typeface="Verdana" panose="020B0604030504040204" pitchFamily="34" charset="0"/>
                <a:ea typeface="Verdana" panose="020B0604030504040204" pitchFamily="34" charset="0"/>
                <a:cs typeface="Verdana" panose="020B0604030504040204" pitchFamily="34" charset="0"/>
              </a:rPr>
              <a:t>Providers</a:t>
            </a:r>
            <a:endParaRPr kumimoji="0" lang="en-US"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8" name="Oval 5"/>
          <p:cNvSpPr>
            <a:spLocks noChangeArrowheads="1"/>
          </p:cNvSpPr>
          <p:nvPr/>
        </p:nvSpPr>
        <p:spPr bwMode="auto">
          <a:xfrm>
            <a:off x="6170095" y="5204748"/>
            <a:ext cx="1188000" cy="1188000"/>
          </a:xfrm>
          <a:prstGeom prst="ellipse">
            <a:avLst/>
          </a:prstGeom>
          <a:solidFill>
            <a:schemeClr val="accent4"/>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0" rIns="18288"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Technology Vendors</a:t>
            </a:r>
          </a:p>
        </p:txBody>
      </p:sp>
      <p:sp>
        <p:nvSpPr>
          <p:cNvPr id="109" name="Oval 5"/>
          <p:cNvSpPr>
            <a:spLocks noChangeArrowheads="1"/>
          </p:cNvSpPr>
          <p:nvPr/>
        </p:nvSpPr>
        <p:spPr bwMode="auto">
          <a:xfrm>
            <a:off x="9882675" y="2312083"/>
            <a:ext cx="1188000" cy="1188000"/>
          </a:xfrm>
          <a:prstGeom prst="ellipse">
            <a:avLst/>
          </a:prstGeom>
          <a:solidFill>
            <a:schemeClr val="accent3"/>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0" tIns="0" rIns="0" bIns="0" anchor="ctr" anchorCtr="1">
            <a:noAutofit/>
          </a:bodyPr>
          <a:lstStyle/>
          <a:p>
            <a:pPr marL="0" marR="0" lvl="0" indent="0" algn="ctr" defTabSz="655579"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prstClr val="white"/>
                </a:solidFill>
                <a:effectLst/>
                <a:uLnTx/>
                <a:uFillTx/>
                <a:latin typeface="Frutiger Next Pro Light"/>
                <a:ea typeface="Open Sans" panose="020B0606030504020204" pitchFamily="34" charset="0"/>
                <a:cs typeface="Open Sans" panose="020B0606030504020204" pitchFamily="34" charset="0"/>
              </a:rPr>
              <a:t>(</a:t>
            </a:r>
            <a:r>
              <a:rPr kumimoji="0" lang="en-US" sz="900" b="1" i="0" u="none" strike="noStrike" kern="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Public)</a:t>
            </a:r>
            <a:r>
              <a:rPr kumimoji="0" lang="en-US" sz="900" b="1" i="0" u="none" strike="noStrike" kern="0" cap="none" spc="0" normalizeH="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Transportation</a:t>
            </a:r>
          </a:p>
          <a:p>
            <a:pPr marL="0" marR="0" lvl="0" indent="0" algn="ctr" defTabSz="655579" eaLnBrk="1" fontAlgn="auto" latinLnBrk="0" hangingPunct="1">
              <a:lnSpc>
                <a:spcPct val="100000"/>
              </a:lnSpc>
              <a:spcBef>
                <a:spcPts val="0"/>
              </a:spcBef>
              <a:spcAft>
                <a:spcPts val="0"/>
              </a:spcAft>
              <a:buClrTx/>
              <a:buSzTx/>
              <a:buFontTx/>
              <a:buNone/>
              <a:tabLst/>
              <a:defRPr/>
            </a:pPr>
            <a:r>
              <a:rPr lang="en-US" sz="900" b="1" kern="0" baseline="0" dirty="0" smtClean="0">
                <a:solidFill>
                  <a:prstClr val="white"/>
                </a:solidFill>
                <a:latin typeface="Verdana" panose="020B0604030504040204" pitchFamily="34" charset="0"/>
                <a:ea typeface="Verdana" panose="020B0604030504040204" pitchFamily="34" charset="0"/>
                <a:cs typeface="Verdana" panose="020B0604030504040204" pitchFamily="34" charset="0"/>
              </a:rPr>
              <a:t>Providers</a:t>
            </a:r>
            <a:endParaRPr kumimoji="0" lang="en-US" sz="9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35" name="Straight Connector 34"/>
          <p:cNvCxnSpPr>
            <a:stCxn id="66" idx="6"/>
            <a:endCxn id="65" idx="5"/>
          </p:cNvCxnSpPr>
          <p:nvPr/>
        </p:nvCxnSpPr>
        <p:spPr>
          <a:xfrm flipV="1">
            <a:off x="1382788" y="3314940"/>
            <a:ext cx="739410" cy="57958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endCxn id="63" idx="4"/>
          </p:cNvCxnSpPr>
          <p:nvPr/>
        </p:nvCxnSpPr>
        <p:spPr>
          <a:xfrm flipV="1">
            <a:off x="1382788" y="2978273"/>
            <a:ext cx="1544955" cy="91625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stCxn id="66" idx="6"/>
            <a:endCxn id="101" idx="4"/>
          </p:cNvCxnSpPr>
          <p:nvPr/>
        </p:nvCxnSpPr>
        <p:spPr>
          <a:xfrm flipV="1">
            <a:off x="1382788" y="2574557"/>
            <a:ext cx="4077602" cy="131997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stCxn id="66" idx="6"/>
          </p:cNvCxnSpPr>
          <p:nvPr/>
        </p:nvCxnSpPr>
        <p:spPr>
          <a:xfrm flipV="1">
            <a:off x="1382788" y="2726645"/>
            <a:ext cx="2801858" cy="116788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66" idx="6"/>
            <a:endCxn id="70" idx="4"/>
          </p:cNvCxnSpPr>
          <p:nvPr/>
        </p:nvCxnSpPr>
        <p:spPr>
          <a:xfrm flipV="1">
            <a:off x="1382788" y="2561343"/>
            <a:ext cx="5381307" cy="133318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stCxn id="66" idx="6"/>
          </p:cNvCxnSpPr>
          <p:nvPr/>
        </p:nvCxnSpPr>
        <p:spPr>
          <a:xfrm flipV="1">
            <a:off x="1382788" y="2741260"/>
            <a:ext cx="6672980" cy="115326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stCxn id="66" idx="6"/>
            <a:endCxn id="68" idx="4"/>
          </p:cNvCxnSpPr>
          <p:nvPr/>
        </p:nvCxnSpPr>
        <p:spPr>
          <a:xfrm flipV="1">
            <a:off x="1382788" y="3004615"/>
            <a:ext cx="7912000" cy="88991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endCxn id="109" idx="3"/>
          </p:cNvCxnSpPr>
          <p:nvPr/>
        </p:nvCxnSpPr>
        <p:spPr>
          <a:xfrm flipV="1">
            <a:off x="1416600" y="3326104"/>
            <a:ext cx="8640054" cy="56561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66" idx="6"/>
            <a:endCxn id="62" idx="2"/>
          </p:cNvCxnSpPr>
          <p:nvPr/>
        </p:nvCxnSpPr>
        <p:spPr>
          <a:xfrm>
            <a:off x="1382788" y="3894527"/>
            <a:ext cx="9385782" cy="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66" idx="6"/>
          </p:cNvCxnSpPr>
          <p:nvPr/>
        </p:nvCxnSpPr>
        <p:spPr>
          <a:xfrm>
            <a:off x="1382788" y="3894527"/>
            <a:ext cx="8673866" cy="55274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66" idx="6"/>
            <a:endCxn id="105" idx="0"/>
          </p:cNvCxnSpPr>
          <p:nvPr/>
        </p:nvCxnSpPr>
        <p:spPr>
          <a:xfrm>
            <a:off x="1382788" y="3894527"/>
            <a:ext cx="7925539" cy="88502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66" idx="6"/>
            <a:endCxn id="106" idx="0"/>
          </p:cNvCxnSpPr>
          <p:nvPr/>
        </p:nvCxnSpPr>
        <p:spPr>
          <a:xfrm>
            <a:off x="1382788" y="3894527"/>
            <a:ext cx="6676040" cy="114096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66" idx="6"/>
            <a:endCxn id="108" idx="0"/>
          </p:cNvCxnSpPr>
          <p:nvPr/>
        </p:nvCxnSpPr>
        <p:spPr>
          <a:xfrm>
            <a:off x="1382788" y="3894527"/>
            <a:ext cx="5381307" cy="131022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66" idx="6"/>
            <a:endCxn id="107" idx="0"/>
          </p:cNvCxnSpPr>
          <p:nvPr/>
        </p:nvCxnSpPr>
        <p:spPr>
          <a:xfrm>
            <a:off x="1382788" y="3894527"/>
            <a:ext cx="4077602" cy="129498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66" idx="6"/>
            <a:endCxn id="103" idx="0"/>
          </p:cNvCxnSpPr>
          <p:nvPr/>
        </p:nvCxnSpPr>
        <p:spPr>
          <a:xfrm>
            <a:off x="1382788" y="3894527"/>
            <a:ext cx="2801858" cy="117705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stCxn id="66" idx="6"/>
            <a:endCxn id="102" idx="0"/>
          </p:cNvCxnSpPr>
          <p:nvPr/>
        </p:nvCxnSpPr>
        <p:spPr>
          <a:xfrm>
            <a:off x="1382788" y="3894527"/>
            <a:ext cx="1544635" cy="91350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66" idx="6"/>
            <a:endCxn id="69" idx="7"/>
          </p:cNvCxnSpPr>
          <p:nvPr/>
        </p:nvCxnSpPr>
        <p:spPr>
          <a:xfrm>
            <a:off x="1382788" y="3894527"/>
            <a:ext cx="727189" cy="58239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a:endCxn id="63" idx="4"/>
          </p:cNvCxnSpPr>
          <p:nvPr/>
        </p:nvCxnSpPr>
        <p:spPr>
          <a:xfrm flipV="1">
            <a:off x="2127757" y="2978273"/>
            <a:ext cx="799986" cy="36351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a:stCxn id="65" idx="5"/>
            <a:endCxn id="61" idx="4"/>
          </p:cNvCxnSpPr>
          <p:nvPr/>
        </p:nvCxnSpPr>
        <p:spPr>
          <a:xfrm flipV="1">
            <a:off x="2122198" y="2711212"/>
            <a:ext cx="2062640" cy="60372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a:stCxn id="65" idx="5"/>
            <a:endCxn id="101" idx="4"/>
          </p:cNvCxnSpPr>
          <p:nvPr/>
        </p:nvCxnSpPr>
        <p:spPr>
          <a:xfrm flipV="1">
            <a:off x="2122198" y="2574557"/>
            <a:ext cx="3338192" cy="74038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stCxn id="65" idx="5"/>
            <a:endCxn id="70" idx="4"/>
          </p:cNvCxnSpPr>
          <p:nvPr/>
        </p:nvCxnSpPr>
        <p:spPr>
          <a:xfrm flipV="1">
            <a:off x="2122198" y="2561343"/>
            <a:ext cx="4641897" cy="75359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a:stCxn id="65" idx="5"/>
            <a:endCxn id="67" idx="4"/>
          </p:cNvCxnSpPr>
          <p:nvPr/>
        </p:nvCxnSpPr>
        <p:spPr>
          <a:xfrm flipV="1">
            <a:off x="2122198" y="2726645"/>
            <a:ext cx="5933570" cy="58829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a:stCxn id="65" idx="5"/>
          </p:cNvCxnSpPr>
          <p:nvPr/>
        </p:nvCxnSpPr>
        <p:spPr>
          <a:xfrm flipV="1">
            <a:off x="2122198" y="3010331"/>
            <a:ext cx="7148693" cy="30460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a:stCxn id="65" idx="5"/>
            <a:endCxn id="109" idx="3"/>
          </p:cNvCxnSpPr>
          <p:nvPr/>
        </p:nvCxnSpPr>
        <p:spPr>
          <a:xfrm>
            <a:off x="2122198" y="3314940"/>
            <a:ext cx="7934456" cy="1116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a:stCxn id="65" idx="5"/>
            <a:endCxn id="62" idx="2"/>
          </p:cNvCxnSpPr>
          <p:nvPr/>
        </p:nvCxnSpPr>
        <p:spPr>
          <a:xfrm>
            <a:off x="2122198" y="3314940"/>
            <a:ext cx="8646372" cy="57958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stCxn id="65" idx="5"/>
            <a:endCxn id="104" idx="1"/>
          </p:cNvCxnSpPr>
          <p:nvPr/>
        </p:nvCxnSpPr>
        <p:spPr>
          <a:xfrm>
            <a:off x="2122198" y="3314940"/>
            <a:ext cx="7949696" cy="115244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a:stCxn id="65" idx="5"/>
            <a:endCxn id="105" idx="0"/>
          </p:cNvCxnSpPr>
          <p:nvPr/>
        </p:nvCxnSpPr>
        <p:spPr>
          <a:xfrm>
            <a:off x="2122198" y="3314940"/>
            <a:ext cx="7186129" cy="146461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stCxn id="65" idx="5"/>
            <a:endCxn id="106" idx="0"/>
          </p:cNvCxnSpPr>
          <p:nvPr/>
        </p:nvCxnSpPr>
        <p:spPr>
          <a:xfrm>
            <a:off x="2122198" y="3314940"/>
            <a:ext cx="5936630" cy="172054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stCxn id="65" idx="5"/>
            <a:endCxn id="108" idx="0"/>
          </p:cNvCxnSpPr>
          <p:nvPr/>
        </p:nvCxnSpPr>
        <p:spPr>
          <a:xfrm>
            <a:off x="2122198" y="3314940"/>
            <a:ext cx="4641897" cy="188980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stCxn id="65" idx="5"/>
            <a:endCxn id="107" idx="0"/>
          </p:cNvCxnSpPr>
          <p:nvPr/>
        </p:nvCxnSpPr>
        <p:spPr>
          <a:xfrm>
            <a:off x="2122198" y="3314940"/>
            <a:ext cx="3338192" cy="187456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endCxn id="103" idx="0"/>
          </p:cNvCxnSpPr>
          <p:nvPr/>
        </p:nvCxnSpPr>
        <p:spPr>
          <a:xfrm>
            <a:off x="2127757" y="3314940"/>
            <a:ext cx="2056889" cy="175664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a:stCxn id="65" idx="5"/>
            <a:endCxn id="102" idx="0"/>
          </p:cNvCxnSpPr>
          <p:nvPr/>
        </p:nvCxnSpPr>
        <p:spPr>
          <a:xfrm>
            <a:off x="2122198" y="3314940"/>
            <a:ext cx="805225" cy="149309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a:stCxn id="65" idx="5"/>
          </p:cNvCxnSpPr>
          <p:nvPr/>
        </p:nvCxnSpPr>
        <p:spPr>
          <a:xfrm flipH="1">
            <a:off x="2106657" y="3314940"/>
            <a:ext cx="15541" cy="115006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a:stCxn id="63" idx="4"/>
            <a:endCxn id="61" idx="4"/>
          </p:cNvCxnSpPr>
          <p:nvPr/>
        </p:nvCxnSpPr>
        <p:spPr>
          <a:xfrm flipV="1">
            <a:off x="2927743" y="2711212"/>
            <a:ext cx="1257095" cy="26706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a:stCxn id="63" idx="4"/>
            <a:endCxn id="101" idx="4"/>
          </p:cNvCxnSpPr>
          <p:nvPr/>
        </p:nvCxnSpPr>
        <p:spPr>
          <a:xfrm flipV="1">
            <a:off x="2927743" y="2574557"/>
            <a:ext cx="2532647" cy="40371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a:stCxn id="63" idx="4"/>
            <a:endCxn id="70" idx="4"/>
          </p:cNvCxnSpPr>
          <p:nvPr/>
        </p:nvCxnSpPr>
        <p:spPr>
          <a:xfrm flipV="1">
            <a:off x="2927743" y="2561343"/>
            <a:ext cx="3836352" cy="41693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a:stCxn id="63" idx="4"/>
            <a:endCxn id="67" idx="4"/>
          </p:cNvCxnSpPr>
          <p:nvPr/>
        </p:nvCxnSpPr>
        <p:spPr>
          <a:xfrm flipV="1">
            <a:off x="2927743" y="2726645"/>
            <a:ext cx="5128025" cy="25162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a:stCxn id="63" idx="4"/>
            <a:endCxn id="68" idx="4"/>
          </p:cNvCxnSpPr>
          <p:nvPr/>
        </p:nvCxnSpPr>
        <p:spPr>
          <a:xfrm>
            <a:off x="2927743" y="2978273"/>
            <a:ext cx="6367045" cy="2634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stCxn id="63" idx="4"/>
            <a:endCxn id="109" idx="3"/>
          </p:cNvCxnSpPr>
          <p:nvPr/>
        </p:nvCxnSpPr>
        <p:spPr>
          <a:xfrm>
            <a:off x="2927743" y="2978273"/>
            <a:ext cx="7128911" cy="34783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63" idx="4"/>
            <a:endCxn id="62" idx="2"/>
          </p:cNvCxnSpPr>
          <p:nvPr/>
        </p:nvCxnSpPr>
        <p:spPr>
          <a:xfrm>
            <a:off x="2927743" y="2978273"/>
            <a:ext cx="7840827" cy="91625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endCxn id="104" idx="1"/>
          </p:cNvCxnSpPr>
          <p:nvPr/>
        </p:nvCxnSpPr>
        <p:spPr>
          <a:xfrm>
            <a:off x="2927423" y="2999167"/>
            <a:ext cx="7144471" cy="146821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a:stCxn id="63" idx="4"/>
            <a:endCxn id="105" idx="0"/>
          </p:cNvCxnSpPr>
          <p:nvPr/>
        </p:nvCxnSpPr>
        <p:spPr>
          <a:xfrm>
            <a:off x="2927743" y="2978273"/>
            <a:ext cx="6380584" cy="180128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a:stCxn id="63" idx="4"/>
            <a:endCxn id="107" idx="0"/>
          </p:cNvCxnSpPr>
          <p:nvPr/>
        </p:nvCxnSpPr>
        <p:spPr>
          <a:xfrm>
            <a:off x="2927743" y="2978273"/>
            <a:ext cx="2532647" cy="221123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a:stCxn id="63" idx="4"/>
            <a:endCxn id="108" idx="0"/>
          </p:cNvCxnSpPr>
          <p:nvPr/>
        </p:nvCxnSpPr>
        <p:spPr>
          <a:xfrm>
            <a:off x="2927743" y="2978273"/>
            <a:ext cx="3836352" cy="222647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a:stCxn id="63" idx="4"/>
            <a:endCxn id="103" idx="0"/>
          </p:cNvCxnSpPr>
          <p:nvPr/>
        </p:nvCxnSpPr>
        <p:spPr>
          <a:xfrm>
            <a:off x="2927743" y="2978273"/>
            <a:ext cx="1256903" cy="209331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a:stCxn id="63" idx="4"/>
            <a:endCxn id="106" idx="0"/>
          </p:cNvCxnSpPr>
          <p:nvPr/>
        </p:nvCxnSpPr>
        <p:spPr>
          <a:xfrm>
            <a:off x="2927743" y="2978273"/>
            <a:ext cx="5131085" cy="205721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a:endCxn id="102" idx="0"/>
          </p:cNvCxnSpPr>
          <p:nvPr/>
        </p:nvCxnSpPr>
        <p:spPr>
          <a:xfrm flipH="1">
            <a:off x="2927423" y="2990032"/>
            <a:ext cx="5559" cy="181799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a:stCxn id="63" idx="4"/>
            <a:endCxn id="69" idx="7"/>
          </p:cNvCxnSpPr>
          <p:nvPr/>
        </p:nvCxnSpPr>
        <p:spPr>
          <a:xfrm flipH="1">
            <a:off x="2109977" y="2978273"/>
            <a:ext cx="817766" cy="149864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a:stCxn id="61" idx="4"/>
            <a:endCxn id="101" idx="4"/>
          </p:cNvCxnSpPr>
          <p:nvPr/>
        </p:nvCxnSpPr>
        <p:spPr>
          <a:xfrm flipV="1">
            <a:off x="4184838" y="2574557"/>
            <a:ext cx="1275552" cy="13665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a:stCxn id="61" idx="4"/>
            <a:endCxn id="70" idx="4"/>
          </p:cNvCxnSpPr>
          <p:nvPr/>
        </p:nvCxnSpPr>
        <p:spPr>
          <a:xfrm flipV="1">
            <a:off x="4184838" y="2561343"/>
            <a:ext cx="2579257" cy="14986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a:stCxn id="61" idx="4"/>
            <a:endCxn id="67" idx="4"/>
          </p:cNvCxnSpPr>
          <p:nvPr/>
        </p:nvCxnSpPr>
        <p:spPr>
          <a:xfrm>
            <a:off x="4184838" y="2711212"/>
            <a:ext cx="3870930" cy="1543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a:stCxn id="61" idx="4"/>
            <a:endCxn id="68" idx="4"/>
          </p:cNvCxnSpPr>
          <p:nvPr/>
        </p:nvCxnSpPr>
        <p:spPr>
          <a:xfrm>
            <a:off x="4184838" y="2711212"/>
            <a:ext cx="5109950" cy="29340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a:stCxn id="61" idx="4"/>
            <a:endCxn id="109" idx="3"/>
          </p:cNvCxnSpPr>
          <p:nvPr/>
        </p:nvCxnSpPr>
        <p:spPr>
          <a:xfrm>
            <a:off x="4184838" y="2711212"/>
            <a:ext cx="5871816" cy="61489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8" name="Straight Connector 277"/>
          <p:cNvCxnSpPr>
            <a:stCxn id="61" idx="4"/>
            <a:endCxn id="62" idx="2"/>
          </p:cNvCxnSpPr>
          <p:nvPr/>
        </p:nvCxnSpPr>
        <p:spPr>
          <a:xfrm>
            <a:off x="4184838" y="2711212"/>
            <a:ext cx="6583732" cy="118331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a:stCxn id="61" idx="4"/>
            <a:endCxn id="104" idx="1"/>
          </p:cNvCxnSpPr>
          <p:nvPr/>
        </p:nvCxnSpPr>
        <p:spPr>
          <a:xfrm>
            <a:off x="4184838" y="2711212"/>
            <a:ext cx="5887056" cy="175616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a:stCxn id="61" idx="4"/>
            <a:endCxn id="105" idx="0"/>
          </p:cNvCxnSpPr>
          <p:nvPr/>
        </p:nvCxnSpPr>
        <p:spPr>
          <a:xfrm>
            <a:off x="4184838" y="2711212"/>
            <a:ext cx="5123489" cy="206834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a:stCxn id="61" idx="4"/>
            <a:endCxn id="106" idx="0"/>
          </p:cNvCxnSpPr>
          <p:nvPr/>
        </p:nvCxnSpPr>
        <p:spPr>
          <a:xfrm>
            <a:off x="4184838" y="2711212"/>
            <a:ext cx="3873990" cy="232427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a:stCxn id="61" idx="4"/>
            <a:endCxn id="108" idx="0"/>
          </p:cNvCxnSpPr>
          <p:nvPr/>
        </p:nvCxnSpPr>
        <p:spPr>
          <a:xfrm>
            <a:off x="4184838" y="2711212"/>
            <a:ext cx="2579257" cy="249353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a:stCxn id="61" idx="4"/>
            <a:endCxn id="107" idx="0"/>
          </p:cNvCxnSpPr>
          <p:nvPr/>
        </p:nvCxnSpPr>
        <p:spPr>
          <a:xfrm>
            <a:off x="4184838" y="2711212"/>
            <a:ext cx="1275552" cy="247829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a:stCxn id="61" idx="4"/>
          </p:cNvCxnSpPr>
          <p:nvPr/>
        </p:nvCxnSpPr>
        <p:spPr>
          <a:xfrm flipH="1">
            <a:off x="4166778" y="2711212"/>
            <a:ext cx="18060" cy="235718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a:stCxn id="61" idx="4"/>
            <a:endCxn id="102" idx="0"/>
          </p:cNvCxnSpPr>
          <p:nvPr/>
        </p:nvCxnSpPr>
        <p:spPr>
          <a:xfrm flipH="1">
            <a:off x="2927423" y="2711212"/>
            <a:ext cx="1257415" cy="209681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a:stCxn id="61" idx="4"/>
            <a:endCxn id="69" idx="7"/>
          </p:cNvCxnSpPr>
          <p:nvPr/>
        </p:nvCxnSpPr>
        <p:spPr>
          <a:xfrm flipH="1">
            <a:off x="2109977" y="2711212"/>
            <a:ext cx="2074861" cy="176570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a:stCxn id="101" idx="4"/>
            <a:endCxn id="70" idx="4"/>
          </p:cNvCxnSpPr>
          <p:nvPr/>
        </p:nvCxnSpPr>
        <p:spPr>
          <a:xfrm flipV="1">
            <a:off x="5460390" y="2561343"/>
            <a:ext cx="1303705" cy="1321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a:stCxn id="101" idx="4"/>
            <a:endCxn id="67" idx="4"/>
          </p:cNvCxnSpPr>
          <p:nvPr/>
        </p:nvCxnSpPr>
        <p:spPr>
          <a:xfrm>
            <a:off x="5460390" y="2574557"/>
            <a:ext cx="2595378" cy="15208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a:stCxn id="101" idx="4"/>
            <a:endCxn id="68" idx="4"/>
          </p:cNvCxnSpPr>
          <p:nvPr/>
        </p:nvCxnSpPr>
        <p:spPr>
          <a:xfrm>
            <a:off x="5460390" y="2574557"/>
            <a:ext cx="3834398" cy="43005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stCxn id="101" idx="4"/>
            <a:endCxn id="109" idx="3"/>
          </p:cNvCxnSpPr>
          <p:nvPr/>
        </p:nvCxnSpPr>
        <p:spPr>
          <a:xfrm>
            <a:off x="5460390" y="2574557"/>
            <a:ext cx="4596264" cy="75154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a:stCxn id="101" idx="4"/>
            <a:endCxn id="62" idx="2"/>
          </p:cNvCxnSpPr>
          <p:nvPr/>
        </p:nvCxnSpPr>
        <p:spPr>
          <a:xfrm>
            <a:off x="5460390" y="2574557"/>
            <a:ext cx="5308180" cy="131997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a:stCxn id="101" idx="4"/>
            <a:endCxn id="104" idx="1"/>
          </p:cNvCxnSpPr>
          <p:nvPr/>
        </p:nvCxnSpPr>
        <p:spPr>
          <a:xfrm>
            <a:off x="5460390" y="2574557"/>
            <a:ext cx="4611504" cy="189282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a:stCxn id="101" idx="4"/>
            <a:endCxn id="105" idx="0"/>
          </p:cNvCxnSpPr>
          <p:nvPr/>
        </p:nvCxnSpPr>
        <p:spPr>
          <a:xfrm>
            <a:off x="5460390" y="2574557"/>
            <a:ext cx="3847937" cy="220499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a:stCxn id="101" idx="4"/>
            <a:endCxn id="106" idx="0"/>
          </p:cNvCxnSpPr>
          <p:nvPr/>
        </p:nvCxnSpPr>
        <p:spPr>
          <a:xfrm>
            <a:off x="5460390" y="2574557"/>
            <a:ext cx="2598438" cy="246093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a:stCxn id="101" idx="4"/>
          </p:cNvCxnSpPr>
          <p:nvPr/>
        </p:nvCxnSpPr>
        <p:spPr>
          <a:xfrm>
            <a:off x="5460390" y="2574557"/>
            <a:ext cx="1280872" cy="262275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a:stCxn id="101" idx="4"/>
            <a:endCxn id="107" idx="0"/>
          </p:cNvCxnSpPr>
          <p:nvPr/>
        </p:nvCxnSpPr>
        <p:spPr>
          <a:xfrm>
            <a:off x="5460390" y="2574557"/>
            <a:ext cx="0" cy="261495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a:stCxn id="101" idx="4"/>
            <a:endCxn id="103" idx="0"/>
          </p:cNvCxnSpPr>
          <p:nvPr/>
        </p:nvCxnSpPr>
        <p:spPr>
          <a:xfrm flipH="1">
            <a:off x="4184646" y="2574557"/>
            <a:ext cx="1275744" cy="249702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a:stCxn id="101" idx="4"/>
            <a:endCxn id="102" idx="0"/>
          </p:cNvCxnSpPr>
          <p:nvPr/>
        </p:nvCxnSpPr>
        <p:spPr>
          <a:xfrm flipH="1">
            <a:off x="2927423" y="2574557"/>
            <a:ext cx="2532967" cy="223347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a:stCxn id="101" idx="4"/>
            <a:endCxn id="69" idx="7"/>
          </p:cNvCxnSpPr>
          <p:nvPr/>
        </p:nvCxnSpPr>
        <p:spPr>
          <a:xfrm flipH="1">
            <a:off x="2109977" y="2574557"/>
            <a:ext cx="3350413" cy="190236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stCxn id="70" idx="4"/>
            <a:endCxn id="67" idx="4"/>
          </p:cNvCxnSpPr>
          <p:nvPr/>
        </p:nvCxnSpPr>
        <p:spPr>
          <a:xfrm>
            <a:off x="6764095" y="2561343"/>
            <a:ext cx="1291673" cy="16530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a:stCxn id="70" idx="4"/>
            <a:endCxn id="68" idx="4"/>
          </p:cNvCxnSpPr>
          <p:nvPr/>
        </p:nvCxnSpPr>
        <p:spPr>
          <a:xfrm>
            <a:off x="6764095" y="2561343"/>
            <a:ext cx="2530693" cy="44327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a:stCxn id="70" idx="4"/>
            <a:endCxn id="109" idx="3"/>
          </p:cNvCxnSpPr>
          <p:nvPr/>
        </p:nvCxnSpPr>
        <p:spPr>
          <a:xfrm>
            <a:off x="6764095" y="2561343"/>
            <a:ext cx="3292559" cy="76476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a:stCxn id="70" idx="4"/>
            <a:endCxn id="62" idx="2"/>
          </p:cNvCxnSpPr>
          <p:nvPr/>
        </p:nvCxnSpPr>
        <p:spPr>
          <a:xfrm>
            <a:off x="6764095" y="2561343"/>
            <a:ext cx="4004475" cy="133318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a:stCxn id="70" idx="4"/>
            <a:endCxn id="104" idx="1"/>
          </p:cNvCxnSpPr>
          <p:nvPr/>
        </p:nvCxnSpPr>
        <p:spPr>
          <a:xfrm>
            <a:off x="6764095" y="2561343"/>
            <a:ext cx="3307799" cy="190603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0" name="Straight Connector 359"/>
          <p:cNvCxnSpPr>
            <a:stCxn id="70" idx="4"/>
            <a:endCxn id="105" idx="0"/>
          </p:cNvCxnSpPr>
          <p:nvPr/>
        </p:nvCxnSpPr>
        <p:spPr>
          <a:xfrm>
            <a:off x="6764095" y="2561343"/>
            <a:ext cx="2544232" cy="221821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3" name="Straight Connector 362"/>
          <p:cNvCxnSpPr>
            <a:stCxn id="70" idx="4"/>
            <a:endCxn id="106" idx="0"/>
          </p:cNvCxnSpPr>
          <p:nvPr/>
        </p:nvCxnSpPr>
        <p:spPr>
          <a:xfrm>
            <a:off x="6764095" y="2561343"/>
            <a:ext cx="1294733" cy="247414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a:stCxn id="70" idx="4"/>
            <a:endCxn id="108" idx="0"/>
          </p:cNvCxnSpPr>
          <p:nvPr/>
        </p:nvCxnSpPr>
        <p:spPr>
          <a:xfrm>
            <a:off x="6764095" y="2561343"/>
            <a:ext cx="0" cy="264340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a:stCxn id="70" idx="4"/>
            <a:endCxn id="107" idx="0"/>
          </p:cNvCxnSpPr>
          <p:nvPr/>
        </p:nvCxnSpPr>
        <p:spPr>
          <a:xfrm flipH="1">
            <a:off x="5460390" y="2561343"/>
            <a:ext cx="1303705" cy="262816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a:stCxn id="70" idx="4"/>
            <a:endCxn id="103" idx="0"/>
          </p:cNvCxnSpPr>
          <p:nvPr/>
        </p:nvCxnSpPr>
        <p:spPr>
          <a:xfrm flipH="1">
            <a:off x="4184646" y="2561343"/>
            <a:ext cx="2579449" cy="251024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a:stCxn id="70" idx="4"/>
            <a:endCxn id="102" idx="0"/>
          </p:cNvCxnSpPr>
          <p:nvPr/>
        </p:nvCxnSpPr>
        <p:spPr>
          <a:xfrm flipH="1">
            <a:off x="2927423" y="2561343"/>
            <a:ext cx="3836672" cy="224668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8" name="Straight Connector 377"/>
          <p:cNvCxnSpPr>
            <a:stCxn id="70" idx="4"/>
            <a:endCxn id="69" idx="7"/>
          </p:cNvCxnSpPr>
          <p:nvPr/>
        </p:nvCxnSpPr>
        <p:spPr>
          <a:xfrm flipH="1">
            <a:off x="2109977" y="2561343"/>
            <a:ext cx="4654118" cy="191557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a:endCxn id="68" idx="4"/>
          </p:cNvCxnSpPr>
          <p:nvPr/>
        </p:nvCxnSpPr>
        <p:spPr>
          <a:xfrm>
            <a:off x="8089581" y="2726645"/>
            <a:ext cx="1205207" cy="27797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a:stCxn id="67" idx="4"/>
            <a:endCxn id="109" idx="3"/>
          </p:cNvCxnSpPr>
          <p:nvPr/>
        </p:nvCxnSpPr>
        <p:spPr>
          <a:xfrm>
            <a:off x="8055768" y="2726645"/>
            <a:ext cx="2000886" cy="59945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a:stCxn id="67" idx="4"/>
            <a:endCxn id="62" idx="2"/>
          </p:cNvCxnSpPr>
          <p:nvPr/>
        </p:nvCxnSpPr>
        <p:spPr>
          <a:xfrm>
            <a:off x="8055768" y="2726645"/>
            <a:ext cx="2712802" cy="116788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a:stCxn id="67" idx="4"/>
            <a:endCxn id="104" idx="1"/>
          </p:cNvCxnSpPr>
          <p:nvPr/>
        </p:nvCxnSpPr>
        <p:spPr>
          <a:xfrm>
            <a:off x="8055768" y="2726645"/>
            <a:ext cx="2016126" cy="174073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9" name="Straight Connector 398"/>
          <p:cNvCxnSpPr>
            <a:stCxn id="67" idx="4"/>
            <a:endCxn id="105" idx="0"/>
          </p:cNvCxnSpPr>
          <p:nvPr/>
        </p:nvCxnSpPr>
        <p:spPr>
          <a:xfrm>
            <a:off x="8055768" y="2726645"/>
            <a:ext cx="1252559" cy="205290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a:stCxn id="67" idx="4"/>
            <a:endCxn id="106" idx="0"/>
          </p:cNvCxnSpPr>
          <p:nvPr/>
        </p:nvCxnSpPr>
        <p:spPr>
          <a:xfrm>
            <a:off x="8055768" y="2726645"/>
            <a:ext cx="3060" cy="230884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a:stCxn id="67" idx="4"/>
            <a:endCxn id="108" idx="0"/>
          </p:cNvCxnSpPr>
          <p:nvPr/>
        </p:nvCxnSpPr>
        <p:spPr>
          <a:xfrm flipH="1">
            <a:off x="6764095" y="2726645"/>
            <a:ext cx="1291673" cy="247810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a:stCxn id="67" idx="4"/>
            <a:endCxn id="107" idx="0"/>
          </p:cNvCxnSpPr>
          <p:nvPr/>
        </p:nvCxnSpPr>
        <p:spPr>
          <a:xfrm flipH="1">
            <a:off x="5460390" y="2726645"/>
            <a:ext cx="2595378" cy="246286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a:stCxn id="67" idx="4"/>
            <a:endCxn id="103" idx="0"/>
          </p:cNvCxnSpPr>
          <p:nvPr/>
        </p:nvCxnSpPr>
        <p:spPr>
          <a:xfrm flipH="1">
            <a:off x="4184646" y="2726645"/>
            <a:ext cx="3871122" cy="234493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7" name="Straight Connector 416"/>
          <p:cNvCxnSpPr>
            <a:stCxn id="67" idx="4"/>
            <a:endCxn id="69" idx="7"/>
          </p:cNvCxnSpPr>
          <p:nvPr/>
        </p:nvCxnSpPr>
        <p:spPr>
          <a:xfrm flipH="1">
            <a:off x="2109977" y="2726645"/>
            <a:ext cx="5945791" cy="175027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Straight Connector 420"/>
          <p:cNvCxnSpPr>
            <a:stCxn id="68" idx="4"/>
            <a:endCxn id="109" idx="3"/>
          </p:cNvCxnSpPr>
          <p:nvPr/>
        </p:nvCxnSpPr>
        <p:spPr>
          <a:xfrm>
            <a:off x="9294788" y="3004615"/>
            <a:ext cx="761866" cy="32148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a:stCxn id="68" idx="4"/>
            <a:endCxn id="62" idx="2"/>
          </p:cNvCxnSpPr>
          <p:nvPr/>
        </p:nvCxnSpPr>
        <p:spPr>
          <a:xfrm>
            <a:off x="9294788" y="3004615"/>
            <a:ext cx="1473782" cy="88991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a:stCxn id="68" idx="4"/>
            <a:endCxn id="104" idx="1"/>
          </p:cNvCxnSpPr>
          <p:nvPr/>
        </p:nvCxnSpPr>
        <p:spPr>
          <a:xfrm>
            <a:off x="9294788" y="3004615"/>
            <a:ext cx="777106" cy="146276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a:stCxn id="68" idx="4"/>
            <a:endCxn id="105" idx="0"/>
          </p:cNvCxnSpPr>
          <p:nvPr/>
        </p:nvCxnSpPr>
        <p:spPr>
          <a:xfrm>
            <a:off x="9294788" y="3004615"/>
            <a:ext cx="13539" cy="177493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3" name="Straight Connector 432"/>
          <p:cNvCxnSpPr>
            <a:stCxn id="68" idx="4"/>
            <a:endCxn id="106" idx="0"/>
          </p:cNvCxnSpPr>
          <p:nvPr/>
        </p:nvCxnSpPr>
        <p:spPr>
          <a:xfrm flipH="1">
            <a:off x="8058828" y="3004615"/>
            <a:ext cx="1235960" cy="2030872"/>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6" name="Straight Connector 435"/>
          <p:cNvCxnSpPr>
            <a:stCxn id="68" idx="4"/>
            <a:endCxn id="108" idx="0"/>
          </p:cNvCxnSpPr>
          <p:nvPr/>
        </p:nvCxnSpPr>
        <p:spPr>
          <a:xfrm flipH="1">
            <a:off x="6764095" y="3004615"/>
            <a:ext cx="2530693" cy="220013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9" name="Straight Connector 438"/>
          <p:cNvCxnSpPr>
            <a:stCxn id="68" idx="4"/>
            <a:endCxn id="107" idx="0"/>
          </p:cNvCxnSpPr>
          <p:nvPr/>
        </p:nvCxnSpPr>
        <p:spPr>
          <a:xfrm flipH="1">
            <a:off x="5460390" y="3004615"/>
            <a:ext cx="3834398" cy="218489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2" name="Straight Connector 441"/>
          <p:cNvCxnSpPr>
            <a:stCxn id="68" idx="4"/>
            <a:endCxn id="103" idx="0"/>
          </p:cNvCxnSpPr>
          <p:nvPr/>
        </p:nvCxnSpPr>
        <p:spPr>
          <a:xfrm flipH="1">
            <a:off x="4184646" y="3004615"/>
            <a:ext cx="5110142" cy="206696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5" name="Straight Connector 444"/>
          <p:cNvCxnSpPr>
            <a:stCxn id="68" idx="4"/>
            <a:endCxn id="102" idx="0"/>
          </p:cNvCxnSpPr>
          <p:nvPr/>
        </p:nvCxnSpPr>
        <p:spPr>
          <a:xfrm flipH="1">
            <a:off x="2927423" y="3004615"/>
            <a:ext cx="6367365" cy="180341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a:stCxn id="68" idx="4"/>
            <a:endCxn id="69" idx="7"/>
          </p:cNvCxnSpPr>
          <p:nvPr/>
        </p:nvCxnSpPr>
        <p:spPr>
          <a:xfrm flipH="1">
            <a:off x="2109977" y="3004615"/>
            <a:ext cx="7184811" cy="147230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a:stCxn id="109" idx="3"/>
            <a:endCxn id="62" idx="2"/>
          </p:cNvCxnSpPr>
          <p:nvPr/>
        </p:nvCxnSpPr>
        <p:spPr>
          <a:xfrm>
            <a:off x="10056654" y="3326104"/>
            <a:ext cx="711916" cy="56842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4" name="Straight Connector 453"/>
          <p:cNvCxnSpPr>
            <a:stCxn id="109" idx="3"/>
            <a:endCxn id="104" idx="1"/>
          </p:cNvCxnSpPr>
          <p:nvPr/>
        </p:nvCxnSpPr>
        <p:spPr>
          <a:xfrm>
            <a:off x="10056654" y="3326104"/>
            <a:ext cx="15240" cy="114127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7" name="Straight Connector 456"/>
          <p:cNvCxnSpPr>
            <a:stCxn id="109" idx="3"/>
            <a:endCxn id="105" idx="0"/>
          </p:cNvCxnSpPr>
          <p:nvPr/>
        </p:nvCxnSpPr>
        <p:spPr>
          <a:xfrm flipH="1">
            <a:off x="9308327" y="3326104"/>
            <a:ext cx="748327" cy="145345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2" name="Straight Connector 461"/>
          <p:cNvCxnSpPr>
            <a:stCxn id="109" idx="3"/>
            <a:endCxn id="106" idx="0"/>
          </p:cNvCxnSpPr>
          <p:nvPr/>
        </p:nvCxnSpPr>
        <p:spPr>
          <a:xfrm flipH="1">
            <a:off x="8058828" y="3326104"/>
            <a:ext cx="1997826" cy="170938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5" name="Straight Connector 464"/>
          <p:cNvCxnSpPr>
            <a:stCxn id="109" idx="3"/>
            <a:endCxn id="108" idx="0"/>
          </p:cNvCxnSpPr>
          <p:nvPr/>
        </p:nvCxnSpPr>
        <p:spPr>
          <a:xfrm flipH="1">
            <a:off x="6764095" y="3326104"/>
            <a:ext cx="3292559" cy="187864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a:stCxn id="109" idx="3"/>
            <a:endCxn id="107" idx="0"/>
          </p:cNvCxnSpPr>
          <p:nvPr/>
        </p:nvCxnSpPr>
        <p:spPr>
          <a:xfrm flipH="1">
            <a:off x="5460390" y="3326104"/>
            <a:ext cx="4596264" cy="186340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a:stCxn id="109" idx="3"/>
            <a:endCxn id="103" idx="0"/>
          </p:cNvCxnSpPr>
          <p:nvPr/>
        </p:nvCxnSpPr>
        <p:spPr>
          <a:xfrm flipH="1">
            <a:off x="4184646" y="3326104"/>
            <a:ext cx="5872008" cy="174547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3" name="Straight Connector 482"/>
          <p:cNvCxnSpPr>
            <a:stCxn id="109" idx="3"/>
            <a:endCxn id="102" idx="0"/>
          </p:cNvCxnSpPr>
          <p:nvPr/>
        </p:nvCxnSpPr>
        <p:spPr>
          <a:xfrm flipH="1">
            <a:off x="2927423" y="3326104"/>
            <a:ext cx="7129231" cy="148192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6" name="Straight Connector 485"/>
          <p:cNvCxnSpPr>
            <a:stCxn id="109" idx="3"/>
            <a:endCxn id="69" idx="7"/>
          </p:cNvCxnSpPr>
          <p:nvPr/>
        </p:nvCxnSpPr>
        <p:spPr>
          <a:xfrm flipH="1">
            <a:off x="2109977" y="3326104"/>
            <a:ext cx="7946677" cy="115081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a:stCxn id="62" idx="2"/>
          </p:cNvCxnSpPr>
          <p:nvPr/>
        </p:nvCxnSpPr>
        <p:spPr>
          <a:xfrm flipH="1">
            <a:off x="10056654" y="3894527"/>
            <a:ext cx="711916" cy="58239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2" name="Straight Connector 491"/>
          <p:cNvCxnSpPr>
            <a:stCxn id="62" idx="2"/>
          </p:cNvCxnSpPr>
          <p:nvPr/>
        </p:nvCxnSpPr>
        <p:spPr>
          <a:xfrm flipH="1">
            <a:off x="9260975" y="3894527"/>
            <a:ext cx="1507595" cy="88502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5" name="Straight Connector 494"/>
          <p:cNvCxnSpPr>
            <a:endCxn id="106" idx="0"/>
          </p:cNvCxnSpPr>
          <p:nvPr/>
        </p:nvCxnSpPr>
        <p:spPr>
          <a:xfrm flipH="1">
            <a:off x="8058828" y="3886719"/>
            <a:ext cx="2694502" cy="114876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8" name="Straight Connector 497"/>
          <p:cNvCxnSpPr>
            <a:stCxn id="62" idx="2"/>
            <a:endCxn id="108" idx="0"/>
          </p:cNvCxnSpPr>
          <p:nvPr/>
        </p:nvCxnSpPr>
        <p:spPr>
          <a:xfrm flipH="1">
            <a:off x="6764095" y="3894527"/>
            <a:ext cx="4004475" cy="131022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1" name="Straight Connector 500"/>
          <p:cNvCxnSpPr>
            <a:stCxn id="62" idx="2"/>
            <a:endCxn id="107" idx="0"/>
          </p:cNvCxnSpPr>
          <p:nvPr/>
        </p:nvCxnSpPr>
        <p:spPr>
          <a:xfrm flipH="1">
            <a:off x="5460390" y="3894527"/>
            <a:ext cx="5308180" cy="129498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5" name="Straight Connector 504"/>
          <p:cNvCxnSpPr>
            <a:stCxn id="62" idx="2"/>
            <a:endCxn id="103" idx="0"/>
          </p:cNvCxnSpPr>
          <p:nvPr/>
        </p:nvCxnSpPr>
        <p:spPr>
          <a:xfrm flipH="1">
            <a:off x="4184646" y="3894527"/>
            <a:ext cx="6583924" cy="117705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8" name="Straight Connector 507"/>
          <p:cNvCxnSpPr>
            <a:stCxn id="62" idx="2"/>
            <a:endCxn id="102" idx="0"/>
          </p:cNvCxnSpPr>
          <p:nvPr/>
        </p:nvCxnSpPr>
        <p:spPr>
          <a:xfrm flipH="1">
            <a:off x="2927423" y="3894527"/>
            <a:ext cx="7841147" cy="91350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1" name="Straight Connector 510"/>
          <p:cNvCxnSpPr>
            <a:stCxn id="62" idx="2"/>
            <a:endCxn id="69" idx="7"/>
          </p:cNvCxnSpPr>
          <p:nvPr/>
        </p:nvCxnSpPr>
        <p:spPr>
          <a:xfrm flipH="1">
            <a:off x="2109977" y="3894527"/>
            <a:ext cx="8658593" cy="58239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4" name="Straight Connector 513"/>
          <p:cNvCxnSpPr>
            <a:stCxn id="104" idx="1"/>
            <a:endCxn id="105" idx="0"/>
          </p:cNvCxnSpPr>
          <p:nvPr/>
        </p:nvCxnSpPr>
        <p:spPr>
          <a:xfrm flipH="1">
            <a:off x="9308327" y="4467380"/>
            <a:ext cx="763567" cy="31217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7" name="Straight Connector 516"/>
          <p:cNvCxnSpPr>
            <a:stCxn id="104" idx="1"/>
            <a:endCxn id="106" idx="0"/>
          </p:cNvCxnSpPr>
          <p:nvPr/>
        </p:nvCxnSpPr>
        <p:spPr>
          <a:xfrm flipH="1">
            <a:off x="8058828" y="4467380"/>
            <a:ext cx="2013066" cy="56810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0" name="Straight Connector 519"/>
          <p:cNvCxnSpPr>
            <a:endCxn id="108" idx="0"/>
          </p:cNvCxnSpPr>
          <p:nvPr/>
        </p:nvCxnSpPr>
        <p:spPr>
          <a:xfrm flipH="1">
            <a:off x="6764095" y="4447269"/>
            <a:ext cx="3323421" cy="75747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3" name="Straight Connector 522"/>
          <p:cNvCxnSpPr>
            <a:stCxn id="104" idx="1"/>
            <a:endCxn id="107" idx="0"/>
          </p:cNvCxnSpPr>
          <p:nvPr/>
        </p:nvCxnSpPr>
        <p:spPr>
          <a:xfrm flipH="1">
            <a:off x="5460390" y="4467380"/>
            <a:ext cx="4611504" cy="72212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6" name="Straight Connector 525"/>
          <p:cNvCxnSpPr>
            <a:stCxn id="104" idx="1"/>
            <a:endCxn id="103" idx="0"/>
          </p:cNvCxnSpPr>
          <p:nvPr/>
        </p:nvCxnSpPr>
        <p:spPr>
          <a:xfrm flipH="1">
            <a:off x="4184646" y="4467380"/>
            <a:ext cx="5887248" cy="60420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9" name="Straight Connector 528"/>
          <p:cNvCxnSpPr>
            <a:stCxn id="104" idx="1"/>
            <a:endCxn id="102" idx="0"/>
          </p:cNvCxnSpPr>
          <p:nvPr/>
        </p:nvCxnSpPr>
        <p:spPr>
          <a:xfrm flipH="1">
            <a:off x="2927423" y="4467380"/>
            <a:ext cx="7144471" cy="34065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2" name="Straight Connector 531"/>
          <p:cNvCxnSpPr>
            <a:stCxn id="104" idx="1"/>
            <a:endCxn id="69" idx="7"/>
          </p:cNvCxnSpPr>
          <p:nvPr/>
        </p:nvCxnSpPr>
        <p:spPr>
          <a:xfrm flipH="1">
            <a:off x="2109977" y="4467380"/>
            <a:ext cx="7961917" cy="954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5" name="Straight Connector 534"/>
          <p:cNvCxnSpPr>
            <a:stCxn id="105" idx="0"/>
            <a:endCxn id="106" idx="0"/>
          </p:cNvCxnSpPr>
          <p:nvPr/>
        </p:nvCxnSpPr>
        <p:spPr>
          <a:xfrm flipH="1">
            <a:off x="8058828" y="4779554"/>
            <a:ext cx="1249499" cy="25593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9" name="Straight Connector 538"/>
          <p:cNvCxnSpPr>
            <a:stCxn id="105" idx="0"/>
            <a:endCxn id="108" idx="0"/>
          </p:cNvCxnSpPr>
          <p:nvPr/>
        </p:nvCxnSpPr>
        <p:spPr>
          <a:xfrm flipH="1">
            <a:off x="6764095" y="4779554"/>
            <a:ext cx="2544232" cy="42519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2" name="Straight Connector 541"/>
          <p:cNvCxnSpPr>
            <a:stCxn id="105" idx="0"/>
            <a:endCxn id="107" idx="0"/>
          </p:cNvCxnSpPr>
          <p:nvPr/>
        </p:nvCxnSpPr>
        <p:spPr>
          <a:xfrm flipH="1">
            <a:off x="5460390" y="4779554"/>
            <a:ext cx="3847937" cy="40995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5" name="Straight Connector 544"/>
          <p:cNvCxnSpPr>
            <a:endCxn id="103" idx="0"/>
          </p:cNvCxnSpPr>
          <p:nvPr/>
        </p:nvCxnSpPr>
        <p:spPr>
          <a:xfrm flipH="1">
            <a:off x="4184646" y="4764314"/>
            <a:ext cx="5116911" cy="307269"/>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8" name="Straight Connector 547"/>
          <p:cNvCxnSpPr>
            <a:stCxn id="105" idx="0"/>
            <a:endCxn id="102" idx="0"/>
          </p:cNvCxnSpPr>
          <p:nvPr/>
        </p:nvCxnSpPr>
        <p:spPr>
          <a:xfrm flipH="1">
            <a:off x="2927423" y="4779554"/>
            <a:ext cx="6380904" cy="2847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1" name="Straight Connector 550"/>
          <p:cNvCxnSpPr>
            <a:stCxn id="105" idx="0"/>
            <a:endCxn id="69" idx="7"/>
          </p:cNvCxnSpPr>
          <p:nvPr/>
        </p:nvCxnSpPr>
        <p:spPr>
          <a:xfrm flipH="1" flipV="1">
            <a:off x="2109977" y="4476920"/>
            <a:ext cx="7198350" cy="302634"/>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4" name="Straight Connector 553"/>
          <p:cNvCxnSpPr>
            <a:stCxn id="106" idx="0"/>
            <a:endCxn id="108" idx="0"/>
          </p:cNvCxnSpPr>
          <p:nvPr/>
        </p:nvCxnSpPr>
        <p:spPr>
          <a:xfrm flipH="1">
            <a:off x="6764095" y="5035487"/>
            <a:ext cx="1294733" cy="16926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a:stCxn id="106" idx="0"/>
            <a:endCxn id="107" idx="0"/>
          </p:cNvCxnSpPr>
          <p:nvPr/>
        </p:nvCxnSpPr>
        <p:spPr>
          <a:xfrm flipH="1">
            <a:off x="5460390" y="5035487"/>
            <a:ext cx="2598438" cy="154021"/>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0" name="Straight Connector 559"/>
          <p:cNvCxnSpPr>
            <a:stCxn id="106" idx="0"/>
            <a:endCxn id="103" idx="0"/>
          </p:cNvCxnSpPr>
          <p:nvPr/>
        </p:nvCxnSpPr>
        <p:spPr>
          <a:xfrm flipH="1">
            <a:off x="4184646" y="5035487"/>
            <a:ext cx="3874182" cy="3609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3" name="Straight Connector 562"/>
          <p:cNvCxnSpPr>
            <a:stCxn id="106" idx="0"/>
            <a:endCxn id="102" idx="0"/>
          </p:cNvCxnSpPr>
          <p:nvPr/>
        </p:nvCxnSpPr>
        <p:spPr>
          <a:xfrm flipH="1" flipV="1">
            <a:off x="2927423" y="4808030"/>
            <a:ext cx="5131405" cy="22745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6" name="Straight Connector 565"/>
          <p:cNvCxnSpPr>
            <a:stCxn id="106" idx="0"/>
            <a:endCxn id="69" idx="7"/>
          </p:cNvCxnSpPr>
          <p:nvPr/>
        </p:nvCxnSpPr>
        <p:spPr>
          <a:xfrm flipH="1" flipV="1">
            <a:off x="2109977" y="4476920"/>
            <a:ext cx="5948851" cy="558567"/>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2" name="Straight Connector 571"/>
          <p:cNvCxnSpPr>
            <a:stCxn id="108" idx="0"/>
            <a:endCxn id="103" idx="0"/>
          </p:cNvCxnSpPr>
          <p:nvPr/>
        </p:nvCxnSpPr>
        <p:spPr>
          <a:xfrm flipH="1" flipV="1">
            <a:off x="4184646" y="5071583"/>
            <a:ext cx="2579449" cy="13316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5" name="Straight Connector 574"/>
          <p:cNvCxnSpPr>
            <a:stCxn id="108" idx="0"/>
            <a:endCxn id="102" idx="0"/>
          </p:cNvCxnSpPr>
          <p:nvPr/>
        </p:nvCxnSpPr>
        <p:spPr>
          <a:xfrm flipH="1" flipV="1">
            <a:off x="2927423" y="4808030"/>
            <a:ext cx="3836672" cy="39671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8" name="Straight Connector 577"/>
          <p:cNvCxnSpPr>
            <a:endCxn id="69" idx="7"/>
          </p:cNvCxnSpPr>
          <p:nvPr/>
        </p:nvCxnSpPr>
        <p:spPr>
          <a:xfrm flipH="1" flipV="1">
            <a:off x="2109977" y="4476920"/>
            <a:ext cx="4673798" cy="720396"/>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1" name="Straight Connector 580"/>
          <p:cNvCxnSpPr>
            <a:stCxn id="107" idx="0"/>
            <a:endCxn id="103" idx="0"/>
          </p:cNvCxnSpPr>
          <p:nvPr/>
        </p:nvCxnSpPr>
        <p:spPr>
          <a:xfrm flipH="1" flipV="1">
            <a:off x="4184646" y="5071583"/>
            <a:ext cx="1275744" cy="11792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4" name="Straight Connector 583"/>
          <p:cNvCxnSpPr>
            <a:stCxn id="107" idx="0"/>
            <a:endCxn id="102" idx="0"/>
          </p:cNvCxnSpPr>
          <p:nvPr/>
        </p:nvCxnSpPr>
        <p:spPr>
          <a:xfrm flipH="1" flipV="1">
            <a:off x="2927423" y="4808030"/>
            <a:ext cx="2532967" cy="38147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7" name="Straight Connector 586"/>
          <p:cNvCxnSpPr>
            <a:stCxn id="107" idx="0"/>
            <a:endCxn id="69" idx="7"/>
          </p:cNvCxnSpPr>
          <p:nvPr/>
        </p:nvCxnSpPr>
        <p:spPr>
          <a:xfrm flipH="1" flipV="1">
            <a:off x="2109977" y="4476920"/>
            <a:ext cx="3350413" cy="712588"/>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0" name="Straight Connector 589"/>
          <p:cNvCxnSpPr>
            <a:stCxn id="103" idx="0"/>
            <a:endCxn id="102" idx="0"/>
          </p:cNvCxnSpPr>
          <p:nvPr/>
        </p:nvCxnSpPr>
        <p:spPr>
          <a:xfrm flipH="1" flipV="1">
            <a:off x="2927423" y="4808030"/>
            <a:ext cx="1257223" cy="26355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3" name="Straight Connector 592"/>
          <p:cNvCxnSpPr>
            <a:stCxn id="103" idx="0"/>
            <a:endCxn id="69" idx="7"/>
          </p:cNvCxnSpPr>
          <p:nvPr/>
        </p:nvCxnSpPr>
        <p:spPr>
          <a:xfrm flipH="1" flipV="1">
            <a:off x="2109977" y="4476920"/>
            <a:ext cx="2074669" cy="594663"/>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6" name="Straight Connector 595"/>
          <p:cNvCxnSpPr>
            <a:stCxn id="102" idx="0"/>
            <a:endCxn id="69" idx="7"/>
          </p:cNvCxnSpPr>
          <p:nvPr/>
        </p:nvCxnSpPr>
        <p:spPr>
          <a:xfrm flipH="1" flipV="1">
            <a:off x="2109977" y="4476920"/>
            <a:ext cx="817446" cy="33111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a:stCxn id="67" idx="4"/>
            <a:endCxn id="102" idx="0"/>
          </p:cNvCxnSpPr>
          <p:nvPr/>
        </p:nvCxnSpPr>
        <p:spPr>
          <a:xfrm flipH="1">
            <a:off x="2927423" y="2726645"/>
            <a:ext cx="5128345" cy="2081385"/>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0" name="Oval 5"/>
          <p:cNvSpPr>
            <a:spLocks noChangeAspect="1" noChangeArrowheads="1"/>
          </p:cNvSpPr>
          <p:nvPr/>
        </p:nvSpPr>
        <p:spPr bwMode="auto">
          <a:xfrm>
            <a:off x="5475931" y="3291064"/>
            <a:ext cx="1188000" cy="1206927"/>
          </a:xfrm>
          <a:prstGeom prst="ellipse">
            <a:avLst/>
          </a:prstGeom>
          <a:solidFill>
            <a:schemeClr val="bg1"/>
          </a:solidFill>
          <a:ln w="12700">
            <a:noFill/>
            <a:round/>
            <a:headEnd/>
            <a:tailEnd/>
          </a:ln>
          <a:effectLst>
            <a:outerShdw blurRad="50800" dist="38100" dir="2700000" algn="tl" rotWithShape="0">
              <a:prstClr val="black">
                <a:alpha val="40000"/>
              </a:prstClr>
            </a:outerShdw>
          </a:effectLst>
          <a:scene3d>
            <a:camera prst="orthographicFront"/>
            <a:lightRig rig="threePt" dir="t"/>
          </a:scene3d>
          <a:sp3d>
            <a:bevelT w="0" h="25400"/>
          </a:sp3d>
        </p:spPr>
        <p:txBody>
          <a:bodyPr wrap="square" lIns="18288" tIns="45720" rIns="18288" bIns="45720" anchor="ctr" anchorCtr="1">
            <a:noAutofit/>
          </a:bodyPr>
          <a:lstStyle/>
          <a:p>
            <a:pPr marL="0" marR="0" lvl="0" indent="0" algn="ctr" defTabSz="655579" eaLnBrk="1" fontAlgn="auto" latinLnBrk="0" hangingPunct="1">
              <a:lnSpc>
                <a:spcPct val="100000"/>
              </a:lnSpc>
              <a:spcBef>
                <a:spcPts val="430"/>
              </a:spcBef>
              <a:spcAft>
                <a:spcPts val="0"/>
              </a:spcAft>
              <a:buClrTx/>
              <a:buSzTx/>
              <a:buFontTx/>
              <a:buNone/>
              <a:tabLst/>
              <a:defRPr/>
            </a:pPr>
            <a:r>
              <a:rPr kumimoji="0" lang="en-US" sz="1200" b="1" i="0" u="none" strike="noStrike" kern="0" cap="none" spc="0" normalizeH="0" baseline="0" noProof="0" dirty="0" smtClean="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rPr>
              <a:t>Citizen /</a:t>
            </a:r>
          </a:p>
          <a:p>
            <a:pPr marL="0" marR="0" lvl="0" indent="0" algn="ctr" defTabSz="655579" eaLnBrk="1" fontAlgn="auto" latinLnBrk="0" hangingPunct="1">
              <a:lnSpc>
                <a:spcPct val="100000"/>
              </a:lnSpc>
              <a:spcBef>
                <a:spcPts val="430"/>
              </a:spcBef>
              <a:spcAft>
                <a:spcPts val="0"/>
              </a:spcAft>
              <a:buClrTx/>
              <a:buSzTx/>
              <a:buFontTx/>
              <a:buNone/>
              <a:tabLst/>
              <a:defRPr/>
            </a:pPr>
            <a:r>
              <a:rPr lang="en-US" sz="1200" b="1" kern="0"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User</a:t>
            </a:r>
            <a:endParaRPr kumimoji="0" lang="en-US" sz="1200" b="1" i="0" u="none" strike="noStrike" kern="0" cap="none" spc="0" normalizeH="0" baseline="0" noProof="0" dirty="0">
              <a:ln>
                <a:noFill/>
              </a:ln>
              <a:solidFill>
                <a:schemeClr val="accent3"/>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569" name="Straight Connector 568"/>
          <p:cNvCxnSpPr>
            <a:stCxn id="108" idx="0"/>
            <a:endCxn id="107" idx="0"/>
          </p:cNvCxnSpPr>
          <p:nvPr/>
        </p:nvCxnSpPr>
        <p:spPr>
          <a:xfrm flipH="1" flipV="1">
            <a:off x="5460390" y="5189508"/>
            <a:ext cx="1303705" cy="15240"/>
          </a:xfrm>
          <a:prstGeom prst="line">
            <a:avLst/>
          </a:prstGeom>
          <a:ln w="9525">
            <a:solidFill>
              <a:schemeClr val="accent5">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9093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sz="1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mart cities require a government that is able to combine six vital roles. To be most effective, city government must make deliberate choices on the mix of roles through which it engages city challenges in the most effective way. </a:t>
            </a:r>
            <a:endPar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itle 3"/>
          <p:cNvSpPr>
            <a:spLocks noGrp="1"/>
          </p:cNvSpPr>
          <p:nvPr>
            <p:ph type="title"/>
          </p:nvPr>
        </p:nvSpPr>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he six roles of city government</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8" name="Gruppieren 7"/>
          <p:cNvGrpSpPr/>
          <p:nvPr/>
        </p:nvGrpSpPr>
        <p:grpSpPr bwMode="gray">
          <a:xfrm>
            <a:off x="8049535" y="2710021"/>
            <a:ext cx="2880000" cy="847002"/>
            <a:chOff x="6487582" y="1841501"/>
            <a:chExt cx="2279686" cy="847002"/>
          </a:xfrm>
        </p:grpSpPr>
        <p:cxnSp>
          <p:nvCxnSpPr>
            <p:cNvPr id="9" name="Straight Connector 40"/>
            <p:cNvCxnSpPr/>
            <p:nvPr/>
          </p:nvCxnSpPr>
          <p:spPr bwMode="gray">
            <a:xfrm>
              <a:off x="6492003" y="2034169"/>
              <a:ext cx="2275263"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41"/>
            <p:cNvSpPr/>
            <p:nvPr/>
          </p:nvSpPr>
          <p:spPr bwMode="gray">
            <a:xfrm>
              <a:off x="6487582" y="2072950"/>
              <a:ext cx="2279686" cy="615553"/>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reate or change laws and regulations to allow new business models and disruptive entries, and simultaneously protect the interests of citizens and users of the city.</a:t>
              </a:r>
              <a:endParaRPr lang="en-US" sz="10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42"/>
            <p:cNvSpPr/>
            <p:nvPr/>
          </p:nvSpPr>
          <p:spPr bwMode="gray">
            <a:xfrm>
              <a:off x="6487583" y="1841501"/>
              <a:ext cx="2112278" cy="153888"/>
            </a:xfrm>
            <a:prstGeom prst="rect">
              <a:avLst/>
            </a:prstGeom>
          </p:spPr>
          <p:txBody>
            <a:bodyPr wrap="square" lIns="0" tIns="0" rIns="0" bIns="0">
              <a:spAutoFit/>
            </a:bodyPr>
            <a:lstStyle/>
            <a:p>
              <a:r>
                <a:rPr lang="en-US" sz="1000" b="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DIRECTOR &amp; REGULATOR</a:t>
              </a:r>
              <a:endParaRPr lang="en-US" sz="1000" dirty="0">
                <a:solidFill>
                  <a:schemeClr val="accent3"/>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2" name="Gruppieren 12"/>
          <p:cNvGrpSpPr/>
          <p:nvPr/>
        </p:nvGrpSpPr>
        <p:grpSpPr bwMode="gray">
          <a:xfrm>
            <a:off x="8049535" y="4251302"/>
            <a:ext cx="2880000" cy="1000890"/>
            <a:chOff x="6476499" y="1816100"/>
            <a:chExt cx="1927121" cy="1000890"/>
          </a:xfrm>
        </p:grpSpPr>
        <p:cxnSp>
          <p:nvCxnSpPr>
            <p:cNvPr id="13" name="Straight Connector 40"/>
            <p:cNvCxnSpPr/>
            <p:nvPr/>
          </p:nvCxnSpPr>
          <p:spPr bwMode="gray">
            <a:xfrm>
              <a:off x="6476499" y="1995705"/>
              <a:ext cx="191770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41"/>
            <p:cNvSpPr/>
            <p:nvPr/>
          </p:nvSpPr>
          <p:spPr bwMode="gray">
            <a:xfrm>
              <a:off x="6487583" y="2047549"/>
              <a:ext cx="1916037" cy="769441"/>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cure modern transportation infrastructures, energy grids and digital networks. Set standards and take measures to make these vital infrastructures resilient and safe.</a:t>
              </a:r>
              <a:endParaRPr lang="en-US" sz="10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42"/>
            <p:cNvSpPr/>
            <p:nvPr/>
          </p:nvSpPr>
          <p:spPr bwMode="gray">
            <a:xfrm>
              <a:off x="6487583" y="1816100"/>
              <a:ext cx="1856788" cy="153888"/>
            </a:xfrm>
            <a:prstGeom prst="rect">
              <a:avLst/>
            </a:prstGeom>
          </p:spPr>
          <p:txBody>
            <a:bodyPr wrap="square" lIns="0" tIns="0" rIns="0" bIns="0">
              <a:spAutoFit/>
            </a:bodyPr>
            <a:lstStyle/>
            <a:p>
              <a:r>
                <a:rPr lang="en-US" sz="1000" b="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CONNECTOR &amp; PROTECTOR</a:t>
              </a:r>
              <a:endParaRPr lang="en-US" sz="1000" b="1" dirty="0">
                <a:solidFill>
                  <a:schemeClr val="accent3"/>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6" name="Gruppieren 16"/>
          <p:cNvGrpSpPr/>
          <p:nvPr/>
        </p:nvGrpSpPr>
        <p:grpSpPr bwMode="gray">
          <a:xfrm>
            <a:off x="1218249" y="2721596"/>
            <a:ext cx="2974924" cy="989315"/>
            <a:chOff x="6480429" y="1827675"/>
            <a:chExt cx="1980907" cy="989315"/>
          </a:xfrm>
        </p:grpSpPr>
        <p:cxnSp>
          <p:nvCxnSpPr>
            <p:cNvPr id="17" name="Straight Connector 40"/>
            <p:cNvCxnSpPr/>
            <p:nvPr/>
          </p:nvCxnSpPr>
          <p:spPr bwMode="gray">
            <a:xfrm>
              <a:off x="6480429" y="1995705"/>
              <a:ext cx="1980907"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41"/>
            <p:cNvSpPr/>
            <p:nvPr/>
          </p:nvSpPr>
          <p:spPr bwMode="gray">
            <a:xfrm>
              <a:off x="6487583" y="2047549"/>
              <a:ext cx="1910545" cy="769441"/>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Build ecosystems by gathering parties that normally do not work together to deliver creative new solutions that neither of the parties could have realized on its own.</a:t>
              </a:r>
              <a:endParaRPr lang="en-US" sz="1000"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endParaRPr lang="en-US" sz="1000" dirty="0">
                <a:solidFill>
                  <a:schemeClr val="tx2"/>
                </a:solidFill>
                <a:latin typeface="Frutiger Next Pro Light"/>
              </a:endParaRPr>
            </a:p>
          </p:txBody>
        </p:sp>
        <p:sp>
          <p:nvSpPr>
            <p:cNvPr id="19" name="Rectangle 42"/>
            <p:cNvSpPr/>
            <p:nvPr/>
          </p:nvSpPr>
          <p:spPr bwMode="gray">
            <a:xfrm>
              <a:off x="6487583" y="1827675"/>
              <a:ext cx="1466082" cy="153888"/>
            </a:xfrm>
            <a:prstGeom prst="rect">
              <a:avLst/>
            </a:prstGeom>
          </p:spPr>
          <p:txBody>
            <a:bodyPr wrap="square" lIns="0" tIns="0" rIns="0" bIns="0">
              <a:spAutoFit/>
            </a:bodyPr>
            <a:lstStyle/>
            <a:p>
              <a:r>
                <a:rPr lang="en-US" sz="1000" b="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SOLUTION ENABLER</a:t>
              </a:r>
              <a:endParaRPr lang="en-US" sz="1000" dirty="0">
                <a:solidFill>
                  <a:schemeClr val="accent3"/>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0" name="Gruppieren 20"/>
          <p:cNvGrpSpPr/>
          <p:nvPr/>
        </p:nvGrpSpPr>
        <p:grpSpPr bwMode="gray">
          <a:xfrm>
            <a:off x="4537518" y="1521027"/>
            <a:ext cx="3091190" cy="1000890"/>
            <a:chOff x="6487581" y="1790699"/>
            <a:chExt cx="2471319" cy="1000890"/>
          </a:xfrm>
        </p:grpSpPr>
        <p:cxnSp>
          <p:nvCxnSpPr>
            <p:cNvPr id="21" name="Straight Connector 40"/>
            <p:cNvCxnSpPr/>
            <p:nvPr/>
          </p:nvCxnSpPr>
          <p:spPr bwMode="gray">
            <a:xfrm>
              <a:off x="6492005" y="1983367"/>
              <a:ext cx="2207529"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41"/>
            <p:cNvSpPr/>
            <p:nvPr/>
          </p:nvSpPr>
          <p:spPr bwMode="gray">
            <a:xfrm>
              <a:off x="6487581" y="2022148"/>
              <a:ext cx="2471319" cy="769441"/>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Sets out a clear direction for the city: what is our vision and ambition as smart city and how do we want to realize this? Furthermore: be an active advocate of the city as innovative hub for new business.</a:t>
              </a:r>
              <a:endParaRPr lang="en-US" sz="10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Rectangle 42"/>
            <p:cNvSpPr/>
            <p:nvPr/>
          </p:nvSpPr>
          <p:spPr bwMode="gray">
            <a:xfrm>
              <a:off x="6487583" y="1790699"/>
              <a:ext cx="2053012" cy="153888"/>
            </a:xfrm>
            <a:prstGeom prst="rect">
              <a:avLst/>
            </a:prstGeom>
          </p:spPr>
          <p:txBody>
            <a:bodyPr wrap="square" lIns="0" tIns="0" rIns="0" bIns="0">
              <a:spAutoFit/>
            </a:bodyPr>
            <a:lstStyle/>
            <a:p>
              <a:r>
                <a:rPr lang="en-US" sz="1000" b="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STRATEGIST &amp; ADVOCATE</a:t>
              </a:r>
              <a:endParaRPr lang="en-US" sz="1000" dirty="0">
                <a:solidFill>
                  <a:schemeClr val="accent3"/>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4" name="Gruppieren 24"/>
          <p:cNvGrpSpPr/>
          <p:nvPr/>
        </p:nvGrpSpPr>
        <p:grpSpPr bwMode="gray">
          <a:xfrm>
            <a:off x="4537518" y="5597479"/>
            <a:ext cx="2880000" cy="833853"/>
            <a:chOff x="6480431" y="1829249"/>
            <a:chExt cx="1992818" cy="833853"/>
          </a:xfrm>
        </p:grpSpPr>
        <p:cxnSp>
          <p:nvCxnSpPr>
            <p:cNvPr id="25" name="Straight Connector 40"/>
            <p:cNvCxnSpPr/>
            <p:nvPr/>
          </p:nvCxnSpPr>
          <p:spPr bwMode="gray">
            <a:xfrm>
              <a:off x="6480431" y="2007280"/>
              <a:ext cx="191770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tangle 41"/>
            <p:cNvSpPr/>
            <p:nvPr/>
          </p:nvSpPr>
          <p:spPr bwMode="gray">
            <a:xfrm>
              <a:off x="6487582" y="2047549"/>
              <a:ext cx="1985667" cy="615553"/>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Apply the principles of innovation in the internal organization and processes. Stimulate innovative solutions by acting as launching customer.</a:t>
              </a:r>
              <a:endParaRPr lang="en-US" sz="10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Rectangle 42"/>
            <p:cNvSpPr/>
            <p:nvPr/>
          </p:nvSpPr>
          <p:spPr bwMode="gray">
            <a:xfrm>
              <a:off x="6487583" y="1829249"/>
              <a:ext cx="1771650" cy="153888"/>
            </a:xfrm>
            <a:prstGeom prst="rect">
              <a:avLst/>
            </a:prstGeom>
          </p:spPr>
          <p:txBody>
            <a:bodyPr wrap="square" lIns="0" tIns="0" rIns="0" bIns="0">
              <a:spAutoFit/>
            </a:bodyPr>
            <a:lstStyle/>
            <a:p>
              <a:r>
                <a:rPr lang="en-US" sz="1000" b="1" dirty="0" smtClean="0">
                  <a:solidFill>
                    <a:schemeClr val="accent3"/>
                  </a:solidFill>
                  <a:latin typeface="Verdana" panose="020B0604030504040204" pitchFamily="34" charset="0"/>
                  <a:ea typeface="Verdana" panose="020B0604030504040204" pitchFamily="34" charset="0"/>
                  <a:cs typeface="Verdana" panose="020B0604030504040204" pitchFamily="34" charset="0"/>
                </a:rPr>
                <a:t>INNOVATOR &amp; INVESTOR</a:t>
              </a:r>
              <a:endParaRPr lang="en-US" sz="1000" dirty="0">
                <a:solidFill>
                  <a:schemeClr val="accent3"/>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8" name="Gruppieren 28"/>
          <p:cNvGrpSpPr/>
          <p:nvPr/>
        </p:nvGrpSpPr>
        <p:grpSpPr bwMode="gray">
          <a:xfrm>
            <a:off x="1218248" y="4251302"/>
            <a:ext cx="2880000" cy="847002"/>
            <a:chOff x="6480431" y="1816100"/>
            <a:chExt cx="1925118" cy="847002"/>
          </a:xfrm>
        </p:grpSpPr>
        <p:cxnSp>
          <p:nvCxnSpPr>
            <p:cNvPr id="29" name="Straight Connector 40"/>
            <p:cNvCxnSpPr/>
            <p:nvPr/>
          </p:nvCxnSpPr>
          <p:spPr bwMode="gray">
            <a:xfrm>
              <a:off x="6480431" y="1995705"/>
              <a:ext cx="1917700" cy="0"/>
            </a:xfrm>
            <a:prstGeom prst="line">
              <a:avLst/>
            </a:prstGeom>
            <a:ln w="12700">
              <a:solidFill>
                <a:srgbClr val="00A1D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41"/>
            <p:cNvSpPr/>
            <p:nvPr/>
          </p:nvSpPr>
          <p:spPr bwMode="gray">
            <a:xfrm>
              <a:off x="6487583" y="2047549"/>
              <a:ext cx="1917966" cy="615553"/>
            </a:xfrm>
            <a:prstGeom prst="rect">
              <a:avLst/>
            </a:prstGeom>
          </p:spPr>
          <p:txBody>
            <a:bodyPr wrap="square" lIns="0" tIns="0" rIns="0" bIns="0">
              <a:spAutoFit/>
            </a:bodyPr>
            <a:lstStyle/>
            <a:p>
              <a:r>
                <a:rPr lang="en-US" sz="1000" dirty="0" smtClean="0">
                  <a:solidFill>
                    <a:schemeClr val="tx2"/>
                  </a:solidFill>
                  <a:latin typeface="Verdana" panose="020B0604030504040204" pitchFamily="34" charset="0"/>
                  <a:ea typeface="Verdana" panose="020B0604030504040204" pitchFamily="34" charset="0"/>
                  <a:cs typeface="Verdana" panose="020B0604030504040204" pitchFamily="34" charset="0"/>
                </a:rPr>
                <a:t>Create an environment in which new businesses and smart solutions can emerge and grow. For example by providing ‘open data’ and by facilitating start ups.</a:t>
              </a:r>
              <a:endParaRPr lang="en-US" sz="1000"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31" name="Rectangle 42"/>
            <p:cNvSpPr/>
            <p:nvPr/>
          </p:nvSpPr>
          <p:spPr bwMode="gray">
            <a:xfrm>
              <a:off x="6487583" y="1816100"/>
              <a:ext cx="1047750" cy="153888"/>
            </a:xfrm>
            <a:prstGeom prst="rect">
              <a:avLst/>
            </a:prstGeom>
          </p:spPr>
          <p:txBody>
            <a:bodyPr wrap="square" lIns="0" tIns="0" rIns="0" bIns="0">
              <a:spAutoFit/>
            </a:bodyPr>
            <a:lstStyle/>
            <a:p>
              <a:r>
                <a:rPr lang="en-US" sz="1000" b="1" dirty="0" smtClean="0">
                  <a:solidFill>
                    <a:schemeClr val="accent3"/>
                  </a:solidFill>
                  <a:latin typeface="Frutiger Next Pro Light"/>
                </a:rPr>
                <a:t>STEWARD</a:t>
              </a:r>
              <a:endParaRPr lang="en-US" sz="1000" dirty="0">
                <a:solidFill>
                  <a:schemeClr val="accent3"/>
                </a:solidFill>
                <a:latin typeface="Frutiger Next Pro Light"/>
              </a:endParaRPr>
            </a:p>
          </p:txBody>
        </p:sp>
      </p:grpSp>
      <p:grpSp>
        <p:nvGrpSpPr>
          <p:cNvPr id="38" name="Gruppieren 38"/>
          <p:cNvGrpSpPr/>
          <p:nvPr/>
        </p:nvGrpSpPr>
        <p:grpSpPr bwMode="gray">
          <a:xfrm>
            <a:off x="4602544" y="2571598"/>
            <a:ext cx="2727426" cy="2746658"/>
            <a:chOff x="3145292" y="2691670"/>
            <a:chExt cx="2837642" cy="2857652"/>
          </a:xfrm>
        </p:grpSpPr>
        <p:sp>
          <p:nvSpPr>
            <p:cNvPr id="39" name="Hexagon 19"/>
            <p:cNvSpPr/>
            <p:nvPr/>
          </p:nvSpPr>
          <p:spPr bwMode="gray">
            <a:xfrm>
              <a:off x="4024113" y="3652496"/>
              <a:ext cx="1080000" cy="936000"/>
            </a:xfrm>
            <a:prstGeom prst="hexagon">
              <a:avLst/>
            </a:prstGeom>
            <a:solidFill>
              <a:schemeClr val="bg1">
                <a:lumMod val="7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0" name="Hexagon 20"/>
            <p:cNvSpPr/>
            <p:nvPr/>
          </p:nvSpPr>
          <p:spPr bwMode="gray">
            <a:xfrm>
              <a:off x="3145292" y="3172083"/>
              <a:ext cx="1080000" cy="936000"/>
            </a:xfrm>
            <a:prstGeom prst="hexagon">
              <a:avLst/>
            </a:prstGeom>
            <a:solidFill>
              <a:schemeClr val="accent3"/>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1" name="Hexagon 21"/>
            <p:cNvSpPr/>
            <p:nvPr/>
          </p:nvSpPr>
          <p:spPr bwMode="gray">
            <a:xfrm>
              <a:off x="3154817" y="4132909"/>
              <a:ext cx="1080000" cy="936000"/>
            </a:xfrm>
            <a:prstGeom prst="hexagon">
              <a:avLst/>
            </a:prstGeom>
            <a:solidFill>
              <a:schemeClr val="accent6"/>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2" name="Hexagon 22"/>
            <p:cNvSpPr/>
            <p:nvPr/>
          </p:nvSpPr>
          <p:spPr bwMode="gray">
            <a:xfrm>
              <a:off x="4024113" y="4613322"/>
              <a:ext cx="1080000" cy="936000"/>
            </a:xfrm>
            <a:prstGeom prst="hexagon">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4" name="Hexagon 37"/>
            <p:cNvSpPr/>
            <p:nvPr/>
          </p:nvSpPr>
          <p:spPr bwMode="gray">
            <a:xfrm>
              <a:off x="4902934" y="3172083"/>
              <a:ext cx="1080000" cy="936000"/>
            </a:xfrm>
            <a:prstGeom prst="hexagon">
              <a:avLst/>
            </a:prstGeom>
            <a:solidFill>
              <a:schemeClr val="accent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3" name="Hexagon 23"/>
            <p:cNvSpPr/>
            <p:nvPr/>
          </p:nvSpPr>
          <p:spPr bwMode="gray">
            <a:xfrm>
              <a:off x="4902934" y="4132909"/>
              <a:ext cx="1080000" cy="936000"/>
            </a:xfrm>
            <a:prstGeom prst="hexagon">
              <a:avLst/>
            </a:prstGeom>
            <a:solidFill>
              <a:schemeClr val="accent4"/>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sp>
          <p:nvSpPr>
            <p:cNvPr id="45" name="Hexagon 38"/>
            <p:cNvSpPr/>
            <p:nvPr/>
          </p:nvSpPr>
          <p:spPr bwMode="gray">
            <a:xfrm>
              <a:off x="4024113" y="2691670"/>
              <a:ext cx="1080000" cy="936000"/>
            </a:xfrm>
            <a:prstGeom prst="hexagon">
              <a:avLst/>
            </a:prstGeom>
            <a:solidFill>
              <a:schemeClr val="accent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smtClean="0">
                <a:solidFill>
                  <a:schemeClr val="tx2"/>
                </a:solidFill>
              </a:endParaRPr>
            </a:p>
          </p:txBody>
        </p:sp>
      </p:grpSp>
      <p:sp>
        <p:nvSpPr>
          <p:cNvPr id="46" name="Freeform 64"/>
          <p:cNvSpPr>
            <a:spLocks noChangeAspect="1" noEditPoints="1"/>
          </p:cNvSpPr>
          <p:nvPr/>
        </p:nvSpPr>
        <p:spPr bwMode="gray">
          <a:xfrm>
            <a:off x="5695159" y="3688808"/>
            <a:ext cx="540055" cy="464509"/>
          </a:xfrm>
          <a:custGeom>
            <a:avLst/>
            <a:gdLst/>
            <a:ahLst/>
            <a:cxnLst>
              <a:cxn ang="0">
                <a:pos x="118" y="92"/>
              </a:cxn>
              <a:cxn ang="0">
                <a:pos x="114" y="67"/>
              </a:cxn>
              <a:cxn ang="0">
                <a:pos x="116" y="62"/>
              </a:cxn>
              <a:cxn ang="0">
                <a:pos x="114" y="62"/>
              </a:cxn>
              <a:cxn ang="0">
                <a:pos x="84" y="45"/>
              </a:cxn>
              <a:cxn ang="0">
                <a:pos x="85" y="41"/>
              </a:cxn>
              <a:cxn ang="0">
                <a:pos x="64" y="21"/>
              </a:cxn>
              <a:cxn ang="0">
                <a:pos x="62" y="17"/>
              </a:cxn>
              <a:cxn ang="0">
                <a:pos x="59" y="17"/>
              </a:cxn>
              <a:cxn ang="0">
                <a:pos x="57" y="21"/>
              </a:cxn>
              <a:cxn ang="0">
                <a:pos x="54" y="38"/>
              </a:cxn>
              <a:cxn ang="0">
                <a:pos x="54" y="41"/>
              </a:cxn>
              <a:cxn ang="0">
                <a:pos x="36" y="45"/>
              </a:cxn>
              <a:cxn ang="0">
                <a:pos x="38" y="56"/>
              </a:cxn>
              <a:cxn ang="0">
                <a:pos x="6" y="62"/>
              </a:cxn>
              <a:cxn ang="0">
                <a:pos x="7" y="67"/>
              </a:cxn>
              <a:cxn ang="0">
                <a:pos x="4" y="92"/>
              </a:cxn>
              <a:cxn ang="0">
                <a:pos x="0" y="98"/>
              </a:cxn>
              <a:cxn ang="0">
                <a:pos x="121" y="104"/>
              </a:cxn>
              <a:cxn ang="0">
                <a:pos x="118" y="98"/>
              </a:cxn>
              <a:cxn ang="0">
                <a:pos x="75" y="47"/>
              </a:cxn>
              <a:cxn ang="0">
                <a:pos x="69" y="55"/>
              </a:cxn>
              <a:cxn ang="0">
                <a:pos x="58" y="47"/>
              </a:cxn>
              <a:cxn ang="0">
                <a:pos x="64" y="55"/>
              </a:cxn>
              <a:cxn ang="0">
                <a:pos x="58" y="47"/>
              </a:cxn>
              <a:cxn ang="0">
                <a:pos x="52" y="47"/>
              </a:cxn>
              <a:cxn ang="0">
                <a:pos x="47" y="55"/>
              </a:cxn>
              <a:cxn ang="0">
                <a:pos x="21" y="94"/>
              </a:cxn>
              <a:cxn ang="0">
                <a:pos x="15" y="86"/>
              </a:cxn>
              <a:cxn ang="0">
                <a:pos x="21" y="94"/>
              </a:cxn>
              <a:cxn ang="0">
                <a:pos x="15" y="78"/>
              </a:cxn>
              <a:cxn ang="0">
                <a:pos x="21" y="70"/>
              </a:cxn>
              <a:cxn ang="0">
                <a:pos x="32" y="94"/>
              </a:cxn>
              <a:cxn ang="0">
                <a:pos x="27" y="86"/>
              </a:cxn>
              <a:cxn ang="0">
                <a:pos x="32" y="94"/>
              </a:cxn>
              <a:cxn ang="0">
                <a:pos x="27" y="78"/>
              </a:cxn>
              <a:cxn ang="0">
                <a:pos x="32" y="70"/>
              </a:cxn>
              <a:cxn ang="0">
                <a:pos x="84" y="74"/>
              </a:cxn>
              <a:cxn ang="0">
                <a:pos x="80" y="98"/>
              </a:cxn>
              <a:cxn ang="0">
                <a:pos x="74" y="74"/>
              </a:cxn>
              <a:cxn ang="0">
                <a:pos x="69" y="98"/>
              </a:cxn>
              <a:cxn ang="0">
                <a:pos x="64" y="74"/>
              </a:cxn>
              <a:cxn ang="0">
                <a:pos x="58" y="98"/>
              </a:cxn>
              <a:cxn ang="0">
                <a:pos x="53" y="74"/>
              </a:cxn>
              <a:cxn ang="0">
                <a:pos x="47" y="98"/>
              </a:cxn>
              <a:cxn ang="0">
                <a:pos x="42" y="74"/>
              </a:cxn>
              <a:cxn ang="0">
                <a:pos x="38" y="69"/>
              </a:cxn>
              <a:cxn ang="0">
                <a:pos x="84" y="69"/>
              </a:cxn>
              <a:cxn ang="0">
                <a:pos x="95" y="94"/>
              </a:cxn>
              <a:cxn ang="0">
                <a:pos x="89" y="86"/>
              </a:cxn>
              <a:cxn ang="0">
                <a:pos x="95" y="94"/>
              </a:cxn>
              <a:cxn ang="0">
                <a:pos x="89" y="78"/>
              </a:cxn>
              <a:cxn ang="0">
                <a:pos x="95" y="70"/>
              </a:cxn>
              <a:cxn ang="0">
                <a:pos x="106" y="94"/>
              </a:cxn>
              <a:cxn ang="0">
                <a:pos x="101" y="86"/>
              </a:cxn>
              <a:cxn ang="0">
                <a:pos x="106" y="94"/>
              </a:cxn>
              <a:cxn ang="0">
                <a:pos x="101" y="78"/>
              </a:cxn>
              <a:cxn ang="0">
                <a:pos x="106" y="70"/>
              </a:cxn>
            </a:cxnLst>
            <a:rect l="0" t="0" r="r" b="b"/>
            <a:pathLst>
              <a:path w="121" h="104">
                <a:moveTo>
                  <a:pt x="118" y="98"/>
                </a:moveTo>
                <a:cubicBezTo>
                  <a:pt x="118" y="92"/>
                  <a:pt x="118" y="92"/>
                  <a:pt x="118" y="92"/>
                </a:cubicBezTo>
                <a:cubicBezTo>
                  <a:pt x="114" y="92"/>
                  <a:pt x="114" y="92"/>
                  <a:pt x="114" y="92"/>
                </a:cubicBezTo>
                <a:cubicBezTo>
                  <a:pt x="114" y="67"/>
                  <a:pt x="114" y="67"/>
                  <a:pt x="114" y="67"/>
                </a:cubicBezTo>
                <a:cubicBezTo>
                  <a:pt x="116" y="67"/>
                  <a:pt x="116" y="67"/>
                  <a:pt x="116" y="67"/>
                </a:cubicBezTo>
                <a:cubicBezTo>
                  <a:pt x="116" y="62"/>
                  <a:pt x="116" y="62"/>
                  <a:pt x="116" y="62"/>
                </a:cubicBezTo>
                <a:cubicBezTo>
                  <a:pt x="114" y="62"/>
                  <a:pt x="114" y="62"/>
                  <a:pt x="114" y="62"/>
                </a:cubicBezTo>
                <a:cubicBezTo>
                  <a:pt x="114" y="62"/>
                  <a:pt x="114" y="62"/>
                  <a:pt x="114" y="62"/>
                </a:cubicBezTo>
                <a:cubicBezTo>
                  <a:pt x="84" y="56"/>
                  <a:pt x="84" y="56"/>
                  <a:pt x="84" y="56"/>
                </a:cubicBezTo>
                <a:cubicBezTo>
                  <a:pt x="84" y="45"/>
                  <a:pt x="84" y="45"/>
                  <a:pt x="84" y="45"/>
                </a:cubicBezTo>
                <a:cubicBezTo>
                  <a:pt x="85" y="45"/>
                  <a:pt x="85" y="45"/>
                  <a:pt x="85" y="45"/>
                </a:cubicBezTo>
                <a:cubicBezTo>
                  <a:pt x="85" y="41"/>
                  <a:pt x="85" y="41"/>
                  <a:pt x="85" y="41"/>
                </a:cubicBezTo>
                <a:cubicBezTo>
                  <a:pt x="83" y="41"/>
                  <a:pt x="83" y="41"/>
                  <a:pt x="83" y="41"/>
                </a:cubicBezTo>
                <a:cubicBezTo>
                  <a:pt x="82" y="30"/>
                  <a:pt x="74" y="22"/>
                  <a:pt x="64" y="21"/>
                </a:cubicBezTo>
                <a:cubicBezTo>
                  <a:pt x="64" y="20"/>
                  <a:pt x="64" y="20"/>
                  <a:pt x="64" y="20"/>
                </a:cubicBezTo>
                <a:cubicBezTo>
                  <a:pt x="64" y="19"/>
                  <a:pt x="64" y="18"/>
                  <a:pt x="62" y="17"/>
                </a:cubicBezTo>
                <a:cubicBezTo>
                  <a:pt x="62" y="13"/>
                  <a:pt x="61" y="0"/>
                  <a:pt x="61" y="0"/>
                </a:cubicBezTo>
                <a:cubicBezTo>
                  <a:pt x="61" y="0"/>
                  <a:pt x="60" y="13"/>
                  <a:pt x="59" y="17"/>
                </a:cubicBezTo>
                <a:cubicBezTo>
                  <a:pt x="58" y="18"/>
                  <a:pt x="57" y="19"/>
                  <a:pt x="57" y="20"/>
                </a:cubicBezTo>
                <a:cubicBezTo>
                  <a:pt x="57" y="20"/>
                  <a:pt x="57" y="20"/>
                  <a:pt x="57" y="21"/>
                </a:cubicBezTo>
                <a:cubicBezTo>
                  <a:pt x="48" y="22"/>
                  <a:pt x="41" y="29"/>
                  <a:pt x="39" y="38"/>
                </a:cubicBezTo>
                <a:cubicBezTo>
                  <a:pt x="54" y="38"/>
                  <a:pt x="54" y="38"/>
                  <a:pt x="54" y="38"/>
                </a:cubicBezTo>
                <a:cubicBezTo>
                  <a:pt x="55" y="38"/>
                  <a:pt x="55" y="39"/>
                  <a:pt x="55" y="39"/>
                </a:cubicBezTo>
                <a:cubicBezTo>
                  <a:pt x="55" y="40"/>
                  <a:pt x="55" y="41"/>
                  <a:pt x="54" y="41"/>
                </a:cubicBezTo>
                <a:cubicBezTo>
                  <a:pt x="36" y="41"/>
                  <a:pt x="36" y="41"/>
                  <a:pt x="36" y="41"/>
                </a:cubicBezTo>
                <a:cubicBezTo>
                  <a:pt x="36" y="45"/>
                  <a:pt x="36" y="45"/>
                  <a:pt x="36" y="45"/>
                </a:cubicBezTo>
                <a:cubicBezTo>
                  <a:pt x="38" y="45"/>
                  <a:pt x="38" y="45"/>
                  <a:pt x="38" y="45"/>
                </a:cubicBezTo>
                <a:cubicBezTo>
                  <a:pt x="38" y="56"/>
                  <a:pt x="38" y="56"/>
                  <a:pt x="38" y="56"/>
                </a:cubicBezTo>
                <a:cubicBezTo>
                  <a:pt x="8" y="62"/>
                  <a:pt x="8" y="62"/>
                  <a:pt x="8" y="62"/>
                </a:cubicBezTo>
                <a:cubicBezTo>
                  <a:pt x="6" y="62"/>
                  <a:pt x="6" y="62"/>
                  <a:pt x="6" y="62"/>
                </a:cubicBezTo>
                <a:cubicBezTo>
                  <a:pt x="6" y="67"/>
                  <a:pt x="6" y="67"/>
                  <a:pt x="6" y="67"/>
                </a:cubicBezTo>
                <a:cubicBezTo>
                  <a:pt x="7" y="67"/>
                  <a:pt x="7" y="67"/>
                  <a:pt x="7" y="67"/>
                </a:cubicBezTo>
                <a:cubicBezTo>
                  <a:pt x="7" y="92"/>
                  <a:pt x="7" y="92"/>
                  <a:pt x="7" y="92"/>
                </a:cubicBezTo>
                <a:cubicBezTo>
                  <a:pt x="4" y="92"/>
                  <a:pt x="4" y="92"/>
                  <a:pt x="4" y="92"/>
                </a:cubicBezTo>
                <a:cubicBezTo>
                  <a:pt x="4" y="98"/>
                  <a:pt x="4" y="98"/>
                  <a:pt x="4" y="98"/>
                </a:cubicBezTo>
                <a:cubicBezTo>
                  <a:pt x="0" y="98"/>
                  <a:pt x="0" y="98"/>
                  <a:pt x="0" y="98"/>
                </a:cubicBezTo>
                <a:cubicBezTo>
                  <a:pt x="0" y="104"/>
                  <a:pt x="0" y="104"/>
                  <a:pt x="0" y="104"/>
                </a:cubicBezTo>
                <a:cubicBezTo>
                  <a:pt x="121" y="104"/>
                  <a:pt x="121" y="104"/>
                  <a:pt x="121" y="104"/>
                </a:cubicBezTo>
                <a:cubicBezTo>
                  <a:pt x="121" y="98"/>
                  <a:pt x="121" y="98"/>
                  <a:pt x="121" y="98"/>
                </a:cubicBezTo>
                <a:lnTo>
                  <a:pt x="118" y="98"/>
                </a:lnTo>
                <a:close/>
                <a:moveTo>
                  <a:pt x="69" y="47"/>
                </a:moveTo>
                <a:cubicBezTo>
                  <a:pt x="75" y="47"/>
                  <a:pt x="75" y="47"/>
                  <a:pt x="75" y="47"/>
                </a:cubicBezTo>
                <a:cubicBezTo>
                  <a:pt x="75" y="55"/>
                  <a:pt x="75" y="55"/>
                  <a:pt x="75" y="55"/>
                </a:cubicBezTo>
                <a:cubicBezTo>
                  <a:pt x="69" y="55"/>
                  <a:pt x="69" y="55"/>
                  <a:pt x="69" y="55"/>
                </a:cubicBezTo>
                <a:lnTo>
                  <a:pt x="69" y="47"/>
                </a:lnTo>
                <a:close/>
                <a:moveTo>
                  <a:pt x="58" y="47"/>
                </a:moveTo>
                <a:cubicBezTo>
                  <a:pt x="64" y="47"/>
                  <a:pt x="64" y="47"/>
                  <a:pt x="64" y="47"/>
                </a:cubicBezTo>
                <a:cubicBezTo>
                  <a:pt x="64" y="55"/>
                  <a:pt x="64" y="55"/>
                  <a:pt x="64" y="55"/>
                </a:cubicBezTo>
                <a:cubicBezTo>
                  <a:pt x="58" y="55"/>
                  <a:pt x="58" y="55"/>
                  <a:pt x="58" y="55"/>
                </a:cubicBezTo>
                <a:lnTo>
                  <a:pt x="58" y="47"/>
                </a:lnTo>
                <a:close/>
                <a:moveTo>
                  <a:pt x="47" y="47"/>
                </a:moveTo>
                <a:cubicBezTo>
                  <a:pt x="52" y="47"/>
                  <a:pt x="52" y="47"/>
                  <a:pt x="52" y="47"/>
                </a:cubicBezTo>
                <a:cubicBezTo>
                  <a:pt x="52" y="55"/>
                  <a:pt x="52" y="55"/>
                  <a:pt x="52" y="55"/>
                </a:cubicBezTo>
                <a:cubicBezTo>
                  <a:pt x="47" y="55"/>
                  <a:pt x="47" y="55"/>
                  <a:pt x="47" y="55"/>
                </a:cubicBezTo>
                <a:lnTo>
                  <a:pt x="47" y="47"/>
                </a:lnTo>
                <a:close/>
                <a:moveTo>
                  <a:pt x="21" y="94"/>
                </a:moveTo>
                <a:cubicBezTo>
                  <a:pt x="15" y="94"/>
                  <a:pt x="15" y="94"/>
                  <a:pt x="15" y="94"/>
                </a:cubicBezTo>
                <a:cubicBezTo>
                  <a:pt x="15" y="86"/>
                  <a:pt x="15" y="86"/>
                  <a:pt x="15" y="86"/>
                </a:cubicBezTo>
                <a:cubicBezTo>
                  <a:pt x="21" y="86"/>
                  <a:pt x="21" y="86"/>
                  <a:pt x="21" y="86"/>
                </a:cubicBezTo>
                <a:lnTo>
                  <a:pt x="21" y="94"/>
                </a:lnTo>
                <a:close/>
                <a:moveTo>
                  <a:pt x="21" y="78"/>
                </a:moveTo>
                <a:cubicBezTo>
                  <a:pt x="15" y="78"/>
                  <a:pt x="15" y="78"/>
                  <a:pt x="15" y="78"/>
                </a:cubicBezTo>
                <a:cubicBezTo>
                  <a:pt x="15" y="70"/>
                  <a:pt x="15" y="70"/>
                  <a:pt x="15" y="70"/>
                </a:cubicBezTo>
                <a:cubicBezTo>
                  <a:pt x="21" y="70"/>
                  <a:pt x="21" y="70"/>
                  <a:pt x="21" y="70"/>
                </a:cubicBezTo>
                <a:lnTo>
                  <a:pt x="21" y="78"/>
                </a:lnTo>
                <a:close/>
                <a:moveTo>
                  <a:pt x="32" y="94"/>
                </a:moveTo>
                <a:cubicBezTo>
                  <a:pt x="27" y="94"/>
                  <a:pt x="27" y="94"/>
                  <a:pt x="27" y="94"/>
                </a:cubicBezTo>
                <a:cubicBezTo>
                  <a:pt x="27" y="86"/>
                  <a:pt x="27" y="86"/>
                  <a:pt x="27" y="86"/>
                </a:cubicBezTo>
                <a:cubicBezTo>
                  <a:pt x="32" y="86"/>
                  <a:pt x="32" y="86"/>
                  <a:pt x="32" y="86"/>
                </a:cubicBezTo>
                <a:lnTo>
                  <a:pt x="32" y="94"/>
                </a:lnTo>
                <a:close/>
                <a:moveTo>
                  <a:pt x="32" y="78"/>
                </a:moveTo>
                <a:cubicBezTo>
                  <a:pt x="27" y="78"/>
                  <a:pt x="27" y="78"/>
                  <a:pt x="27" y="78"/>
                </a:cubicBezTo>
                <a:cubicBezTo>
                  <a:pt x="27" y="70"/>
                  <a:pt x="27" y="70"/>
                  <a:pt x="27" y="70"/>
                </a:cubicBezTo>
                <a:cubicBezTo>
                  <a:pt x="32" y="70"/>
                  <a:pt x="32" y="70"/>
                  <a:pt x="32" y="70"/>
                </a:cubicBezTo>
                <a:lnTo>
                  <a:pt x="32" y="78"/>
                </a:lnTo>
                <a:close/>
                <a:moveTo>
                  <a:pt x="84" y="74"/>
                </a:moveTo>
                <a:cubicBezTo>
                  <a:pt x="80" y="74"/>
                  <a:pt x="80" y="74"/>
                  <a:pt x="80" y="74"/>
                </a:cubicBezTo>
                <a:cubicBezTo>
                  <a:pt x="80" y="98"/>
                  <a:pt x="80" y="98"/>
                  <a:pt x="80" y="98"/>
                </a:cubicBezTo>
                <a:cubicBezTo>
                  <a:pt x="74" y="98"/>
                  <a:pt x="74" y="98"/>
                  <a:pt x="74" y="98"/>
                </a:cubicBezTo>
                <a:cubicBezTo>
                  <a:pt x="74" y="74"/>
                  <a:pt x="74" y="74"/>
                  <a:pt x="74" y="74"/>
                </a:cubicBezTo>
                <a:cubicBezTo>
                  <a:pt x="69" y="74"/>
                  <a:pt x="69" y="74"/>
                  <a:pt x="69" y="74"/>
                </a:cubicBezTo>
                <a:cubicBezTo>
                  <a:pt x="69" y="98"/>
                  <a:pt x="69" y="98"/>
                  <a:pt x="69" y="98"/>
                </a:cubicBezTo>
                <a:cubicBezTo>
                  <a:pt x="64" y="98"/>
                  <a:pt x="64" y="98"/>
                  <a:pt x="64" y="98"/>
                </a:cubicBezTo>
                <a:cubicBezTo>
                  <a:pt x="64" y="74"/>
                  <a:pt x="64" y="74"/>
                  <a:pt x="64" y="74"/>
                </a:cubicBezTo>
                <a:cubicBezTo>
                  <a:pt x="58" y="74"/>
                  <a:pt x="58" y="74"/>
                  <a:pt x="58" y="74"/>
                </a:cubicBezTo>
                <a:cubicBezTo>
                  <a:pt x="58" y="98"/>
                  <a:pt x="58" y="98"/>
                  <a:pt x="58" y="98"/>
                </a:cubicBezTo>
                <a:cubicBezTo>
                  <a:pt x="53" y="98"/>
                  <a:pt x="53" y="98"/>
                  <a:pt x="53" y="98"/>
                </a:cubicBezTo>
                <a:cubicBezTo>
                  <a:pt x="53" y="74"/>
                  <a:pt x="53" y="74"/>
                  <a:pt x="53" y="74"/>
                </a:cubicBezTo>
                <a:cubicBezTo>
                  <a:pt x="47" y="74"/>
                  <a:pt x="47" y="74"/>
                  <a:pt x="47" y="74"/>
                </a:cubicBezTo>
                <a:cubicBezTo>
                  <a:pt x="47" y="98"/>
                  <a:pt x="47" y="98"/>
                  <a:pt x="47" y="98"/>
                </a:cubicBezTo>
                <a:cubicBezTo>
                  <a:pt x="42" y="98"/>
                  <a:pt x="42" y="98"/>
                  <a:pt x="42" y="98"/>
                </a:cubicBezTo>
                <a:cubicBezTo>
                  <a:pt x="42" y="74"/>
                  <a:pt x="42" y="74"/>
                  <a:pt x="42" y="74"/>
                </a:cubicBezTo>
                <a:cubicBezTo>
                  <a:pt x="38" y="74"/>
                  <a:pt x="38" y="74"/>
                  <a:pt x="38" y="74"/>
                </a:cubicBezTo>
                <a:cubicBezTo>
                  <a:pt x="38" y="69"/>
                  <a:pt x="38" y="69"/>
                  <a:pt x="38" y="69"/>
                </a:cubicBezTo>
                <a:cubicBezTo>
                  <a:pt x="61" y="61"/>
                  <a:pt x="61" y="61"/>
                  <a:pt x="61" y="61"/>
                </a:cubicBezTo>
                <a:cubicBezTo>
                  <a:pt x="84" y="69"/>
                  <a:pt x="84" y="69"/>
                  <a:pt x="84" y="69"/>
                </a:cubicBezTo>
                <a:lnTo>
                  <a:pt x="84" y="74"/>
                </a:lnTo>
                <a:close/>
                <a:moveTo>
                  <a:pt x="95" y="94"/>
                </a:moveTo>
                <a:cubicBezTo>
                  <a:pt x="89" y="94"/>
                  <a:pt x="89" y="94"/>
                  <a:pt x="89" y="94"/>
                </a:cubicBezTo>
                <a:cubicBezTo>
                  <a:pt x="89" y="86"/>
                  <a:pt x="89" y="86"/>
                  <a:pt x="89" y="86"/>
                </a:cubicBezTo>
                <a:cubicBezTo>
                  <a:pt x="95" y="86"/>
                  <a:pt x="95" y="86"/>
                  <a:pt x="95" y="86"/>
                </a:cubicBezTo>
                <a:lnTo>
                  <a:pt x="95" y="94"/>
                </a:lnTo>
                <a:close/>
                <a:moveTo>
                  <a:pt x="95" y="78"/>
                </a:moveTo>
                <a:cubicBezTo>
                  <a:pt x="89" y="78"/>
                  <a:pt x="89" y="78"/>
                  <a:pt x="89" y="78"/>
                </a:cubicBezTo>
                <a:cubicBezTo>
                  <a:pt x="89" y="70"/>
                  <a:pt x="89" y="70"/>
                  <a:pt x="89" y="70"/>
                </a:cubicBezTo>
                <a:cubicBezTo>
                  <a:pt x="95" y="70"/>
                  <a:pt x="95" y="70"/>
                  <a:pt x="95" y="70"/>
                </a:cubicBezTo>
                <a:lnTo>
                  <a:pt x="95" y="78"/>
                </a:lnTo>
                <a:close/>
                <a:moveTo>
                  <a:pt x="106" y="94"/>
                </a:moveTo>
                <a:cubicBezTo>
                  <a:pt x="101" y="94"/>
                  <a:pt x="101" y="94"/>
                  <a:pt x="101" y="94"/>
                </a:cubicBezTo>
                <a:cubicBezTo>
                  <a:pt x="101" y="86"/>
                  <a:pt x="101" y="86"/>
                  <a:pt x="101" y="86"/>
                </a:cubicBezTo>
                <a:cubicBezTo>
                  <a:pt x="106" y="86"/>
                  <a:pt x="106" y="86"/>
                  <a:pt x="106" y="86"/>
                </a:cubicBezTo>
                <a:lnTo>
                  <a:pt x="106" y="94"/>
                </a:lnTo>
                <a:close/>
                <a:moveTo>
                  <a:pt x="106" y="78"/>
                </a:moveTo>
                <a:cubicBezTo>
                  <a:pt x="101" y="78"/>
                  <a:pt x="101" y="78"/>
                  <a:pt x="101" y="78"/>
                </a:cubicBezTo>
                <a:cubicBezTo>
                  <a:pt x="101" y="70"/>
                  <a:pt x="101" y="70"/>
                  <a:pt x="101" y="70"/>
                </a:cubicBezTo>
                <a:cubicBezTo>
                  <a:pt x="106" y="70"/>
                  <a:pt x="106" y="70"/>
                  <a:pt x="106" y="70"/>
                </a:cubicBezTo>
                <a:lnTo>
                  <a:pt x="106" y="7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72"/>
          <p:cNvSpPr>
            <a:spLocks noChangeAspect="1" noEditPoints="1"/>
          </p:cNvSpPr>
          <p:nvPr/>
        </p:nvSpPr>
        <p:spPr bwMode="gray">
          <a:xfrm>
            <a:off x="4987877" y="4233429"/>
            <a:ext cx="324626" cy="443532"/>
          </a:xfrm>
          <a:custGeom>
            <a:avLst/>
            <a:gdLst/>
            <a:ahLst/>
            <a:cxnLst>
              <a:cxn ang="0">
                <a:pos x="69" y="0"/>
              </a:cxn>
              <a:cxn ang="0">
                <a:pos x="37" y="18"/>
              </a:cxn>
              <a:cxn ang="0">
                <a:pos x="14" y="0"/>
              </a:cxn>
              <a:cxn ang="0">
                <a:pos x="0" y="2"/>
              </a:cxn>
              <a:cxn ang="0">
                <a:pos x="33" y="32"/>
              </a:cxn>
              <a:cxn ang="0">
                <a:pos x="33" y="118"/>
              </a:cxn>
              <a:cxn ang="0">
                <a:pos x="41" y="118"/>
              </a:cxn>
              <a:cxn ang="0">
                <a:pos x="41" y="36"/>
              </a:cxn>
              <a:cxn ang="0">
                <a:pos x="86" y="3"/>
              </a:cxn>
              <a:cxn ang="0">
                <a:pos x="69" y="0"/>
              </a:cxn>
              <a:cxn ang="0">
                <a:pos x="10" y="7"/>
              </a:cxn>
              <a:cxn ang="0">
                <a:pos x="37" y="24"/>
              </a:cxn>
              <a:cxn ang="0">
                <a:pos x="71" y="10"/>
              </a:cxn>
              <a:cxn ang="0">
                <a:pos x="37" y="32"/>
              </a:cxn>
              <a:cxn ang="0">
                <a:pos x="10" y="7"/>
              </a:cxn>
            </a:cxnLst>
            <a:rect l="0" t="0" r="r" b="b"/>
            <a:pathLst>
              <a:path w="86" h="118">
                <a:moveTo>
                  <a:pt x="69" y="0"/>
                </a:moveTo>
                <a:cubicBezTo>
                  <a:pt x="48" y="0"/>
                  <a:pt x="40" y="7"/>
                  <a:pt x="37" y="18"/>
                </a:cubicBezTo>
                <a:cubicBezTo>
                  <a:pt x="37" y="18"/>
                  <a:pt x="31" y="2"/>
                  <a:pt x="14" y="0"/>
                </a:cubicBezTo>
                <a:cubicBezTo>
                  <a:pt x="9" y="0"/>
                  <a:pt x="4" y="0"/>
                  <a:pt x="0" y="2"/>
                </a:cubicBezTo>
                <a:cubicBezTo>
                  <a:pt x="7" y="39"/>
                  <a:pt x="25" y="35"/>
                  <a:pt x="33" y="32"/>
                </a:cubicBezTo>
                <a:cubicBezTo>
                  <a:pt x="33" y="118"/>
                  <a:pt x="33" y="118"/>
                  <a:pt x="33" y="118"/>
                </a:cubicBezTo>
                <a:cubicBezTo>
                  <a:pt x="41" y="118"/>
                  <a:pt x="41" y="118"/>
                  <a:pt x="41" y="118"/>
                </a:cubicBezTo>
                <a:cubicBezTo>
                  <a:pt x="41" y="36"/>
                  <a:pt x="41" y="36"/>
                  <a:pt x="41" y="36"/>
                </a:cubicBezTo>
                <a:cubicBezTo>
                  <a:pt x="50" y="42"/>
                  <a:pt x="73" y="50"/>
                  <a:pt x="86" y="3"/>
                </a:cubicBezTo>
                <a:cubicBezTo>
                  <a:pt x="81" y="1"/>
                  <a:pt x="75" y="0"/>
                  <a:pt x="69" y="0"/>
                </a:cubicBezTo>
                <a:close/>
                <a:moveTo>
                  <a:pt x="10" y="7"/>
                </a:moveTo>
                <a:cubicBezTo>
                  <a:pt x="28" y="11"/>
                  <a:pt x="37" y="24"/>
                  <a:pt x="37" y="24"/>
                </a:cubicBezTo>
                <a:cubicBezTo>
                  <a:pt x="37" y="24"/>
                  <a:pt x="46" y="9"/>
                  <a:pt x="71" y="10"/>
                </a:cubicBezTo>
                <a:cubicBezTo>
                  <a:pt x="71" y="10"/>
                  <a:pt x="43" y="20"/>
                  <a:pt x="37" y="32"/>
                </a:cubicBezTo>
                <a:cubicBezTo>
                  <a:pt x="35" y="25"/>
                  <a:pt x="25" y="19"/>
                  <a:pt x="10" y="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9" name="Group 209"/>
          <p:cNvGrpSpPr>
            <a:grpSpLocks noChangeAspect="1"/>
          </p:cNvGrpSpPr>
          <p:nvPr/>
        </p:nvGrpSpPr>
        <p:grpSpPr bwMode="gray">
          <a:xfrm>
            <a:off x="5823552" y="4643118"/>
            <a:ext cx="277954" cy="451889"/>
            <a:chOff x="8193088" y="2763838"/>
            <a:chExt cx="776287" cy="1262063"/>
          </a:xfrm>
          <a:solidFill>
            <a:schemeClr val="bg1"/>
          </a:solidFill>
        </p:grpSpPr>
        <p:sp>
          <p:nvSpPr>
            <p:cNvPr id="50" name="Freeform 29"/>
            <p:cNvSpPr>
              <a:spLocks/>
            </p:cNvSpPr>
            <p:nvPr/>
          </p:nvSpPr>
          <p:spPr bwMode="gray">
            <a:xfrm>
              <a:off x="8512175" y="3979863"/>
              <a:ext cx="149225" cy="46038"/>
            </a:xfrm>
            <a:custGeom>
              <a:avLst/>
              <a:gdLst/>
              <a:ahLst/>
              <a:cxnLst>
                <a:cxn ang="0">
                  <a:pos x="0" y="0"/>
                </a:cxn>
                <a:cxn ang="0">
                  <a:pos x="13" y="0"/>
                </a:cxn>
                <a:cxn ang="0">
                  <a:pos x="6" y="4"/>
                </a:cxn>
                <a:cxn ang="0">
                  <a:pos x="0" y="0"/>
                </a:cxn>
              </a:cxnLst>
              <a:rect l="0" t="0" r="r" b="b"/>
              <a:pathLst>
                <a:path w="13" h="4">
                  <a:moveTo>
                    <a:pt x="0" y="0"/>
                  </a:moveTo>
                  <a:cubicBezTo>
                    <a:pt x="13" y="0"/>
                    <a:pt x="13" y="0"/>
                    <a:pt x="13" y="0"/>
                  </a:cubicBezTo>
                  <a:cubicBezTo>
                    <a:pt x="12" y="3"/>
                    <a:pt x="9" y="4"/>
                    <a:pt x="6" y="4"/>
                  </a:cubicBezTo>
                  <a:cubicBezTo>
                    <a:pt x="4" y="4"/>
                    <a:pt x="1" y="3"/>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30"/>
            <p:cNvSpPr>
              <a:spLocks noEditPoints="1"/>
            </p:cNvSpPr>
            <p:nvPr/>
          </p:nvSpPr>
          <p:spPr bwMode="gray">
            <a:xfrm>
              <a:off x="8193088" y="2763838"/>
              <a:ext cx="776287" cy="977900"/>
            </a:xfrm>
            <a:custGeom>
              <a:avLst/>
              <a:gdLst/>
              <a:ahLst/>
              <a:cxnLst>
                <a:cxn ang="0">
                  <a:pos x="34" y="86"/>
                </a:cxn>
                <a:cxn ang="0">
                  <a:pos x="45" y="86"/>
                </a:cxn>
                <a:cxn ang="0">
                  <a:pos x="49" y="79"/>
                </a:cxn>
                <a:cxn ang="0">
                  <a:pos x="56" y="64"/>
                </a:cxn>
                <a:cxn ang="0">
                  <a:pos x="66" y="31"/>
                </a:cxn>
                <a:cxn ang="0">
                  <a:pos x="63" y="23"/>
                </a:cxn>
                <a:cxn ang="0">
                  <a:pos x="5" y="23"/>
                </a:cxn>
                <a:cxn ang="0">
                  <a:pos x="3" y="31"/>
                </a:cxn>
                <a:cxn ang="0">
                  <a:pos x="13" y="64"/>
                </a:cxn>
                <a:cxn ang="0">
                  <a:pos x="19" y="79"/>
                </a:cxn>
                <a:cxn ang="0">
                  <a:pos x="24" y="86"/>
                </a:cxn>
                <a:cxn ang="0">
                  <a:pos x="34" y="86"/>
                </a:cxn>
                <a:cxn ang="0">
                  <a:pos x="11" y="38"/>
                </a:cxn>
                <a:cxn ang="0">
                  <a:pos x="16" y="20"/>
                </a:cxn>
                <a:cxn ang="0">
                  <a:pos x="18" y="23"/>
                </a:cxn>
                <a:cxn ang="0">
                  <a:pos x="11" y="39"/>
                </a:cxn>
                <a:cxn ang="0">
                  <a:pos x="11" y="38"/>
                </a:cxn>
              </a:cxnLst>
              <a:rect l="0" t="0" r="r" b="b"/>
              <a:pathLst>
                <a:path w="68" h="86">
                  <a:moveTo>
                    <a:pt x="34" y="86"/>
                  </a:moveTo>
                  <a:cubicBezTo>
                    <a:pt x="45" y="86"/>
                    <a:pt x="45" y="86"/>
                    <a:pt x="45" y="86"/>
                  </a:cubicBezTo>
                  <a:cubicBezTo>
                    <a:pt x="49" y="86"/>
                    <a:pt x="49" y="82"/>
                    <a:pt x="49" y="79"/>
                  </a:cubicBezTo>
                  <a:cubicBezTo>
                    <a:pt x="51" y="73"/>
                    <a:pt x="53" y="68"/>
                    <a:pt x="56" y="64"/>
                  </a:cubicBezTo>
                  <a:cubicBezTo>
                    <a:pt x="62" y="54"/>
                    <a:pt x="68" y="43"/>
                    <a:pt x="66" y="31"/>
                  </a:cubicBezTo>
                  <a:cubicBezTo>
                    <a:pt x="65" y="28"/>
                    <a:pt x="64" y="25"/>
                    <a:pt x="63" y="23"/>
                  </a:cubicBezTo>
                  <a:cubicBezTo>
                    <a:pt x="52" y="0"/>
                    <a:pt x="16" y="0"/>
                    <a:pt x="5" y="23"/>
                  </a:cubicBezTo>
                  <a:cubicBezTo>
                    <a:pt x="4" y="25"/>
                    <a:pt x="3" y="28"/>
                    <a:pt x="3" y="31"/>
                  </a:cubicBezTo>
                  <a:cubicBezTo>
                    <a:pt x="0" y="43"/>
                    <a:pt x="7" y="54"/>
                    <a:pt x="13" y="64"/>
                  </a:cubicBezTo>
                  <a:cubicBezTo>
                    <a:pt x="16" y="68"/>
                    <a:pt x="18" y="73"/>
                    <a:pt x="19" y="79"/>
                  </a:cubicBezTo>
                  <a:cubicBezTo>
                    <a:pt x="20" y="82"/>
                    <a:pt x="20" y="86"/>
                    <a:pt x="24" y="86"/>
                  </a:cubicBezTo>
                  <a:cubicBezTo>
                    <a:pt x="34" y="86"/>
                    <a:pt x="34" y="86"/>
                    <a:pt x="34" y="86"/>
                  </a:cubicBezTo>
                  <a:close/>
                  <a:moveTo>
                    <a:pt x="11" y="38"/>
                  </a:moveTo>
                  <a:cubicBezTo>
                    <a:pt x="11" y="38"/>
                    <a:pt x="8" y="28"/>
                    <a:pt x="16" y="20"/>
                  </a:cubicBezTo>
                  <a:cubicBezTo>
                    <a:pt x="19" y="18"/>
                    <a:pt x="22" y="21"/>
                    <a:pt x="18" y="23"/>
                  </a:cubicBezTo>
                  <a:cubicBezTo>
                    <a:pt x="11" y="29"/>
                    <a:pt x="11" y="36"/>
                    <a:pt x="11" y="39"/>
                  </a:cubicBezTo>
                  <a:cubicBezTo>
                    <a:pt x="11" y="39"/>
                    <a:pt x="11" y="38"/>
                    <a:pt x="11" y="3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31"/>
            <p:cNvSpPr>
              <a:spLocks/>
            </p:cNvSpPr>
            <p:nvPr/>
          </p:nvSpPr>
          <p:spPr bwMode="gray">
            <a:xfrm>
              <a:off x="8421688" y="3763963"/>
              <a:ext cx="319087" cy="204788"/>
            </a:xfrm>
            <a:custGeom>
              <a:avLst/>
              <a:gdLst/>
              <a:ahLst/>
              <a:cxnLst>
                <a:cxn ang="0">
                  <a:pos x="28" y="8"/>
                </a:cxn>
                <a:cxn ang="0">
                  <a:pos x="27" y="7"/>
                </a:cxn>
                <a:cxn ang="0">
                  <a:pos x="27" y="5"/>
                </a:cxn>
                <a:cxn ang="0">
                  <a:pos x="28" y="4"/>
                </a:cxn>
                <a:cxn ang="0">
                  <a:pos x="27" y="3"/>
                </a:cxn>
                <a:cxn ang="0">
                  <a:pos x="27" y="0"/>
                </a:cxn>
                <a:cxn ang="0">
                  <a:pos x="14" y="0"/>
                </a:cxn>
                <a:cxn ang="0">
                  <a:pos x="2" y="0"/>
                </a:cxn>
                <a:cxn ang="0">
                  <a:pos x="2" y="3"/>
                </a:cxn>
                <a:cxn ang="0">
                  <a:pos x="0" y="4"/>
                </a:cxn>
                <a:cxn ang="0">
                  <a:pos x="2" y="5"/>
                </a:cxn>
                <a:cxn ang="0">
                  <a:pos x="2" y="7"/>
                </a:cxn>
                <a:cxn ang="0">
                  <a:pos x="0" y="8"/>
                </a:cxn>
                <a:cxn ang="0">
                  <a:pos x="2" y="9"/>
                </a:cxn>
                <a:cxn ang="0">
                  <a:pos x="2" y="11"/>
                </a:cxn>
                <a:cxn ang="0">
                  <a:pos x="0" y="13"/>
                </a:cxn>
                <a:cxn ang="0">
                  <a:pos x="2" y="14"/>
                </a:cxn>
                <a:cxn ang="0">
                  <a:pos x="2" y="15"/>
                </a:cxn>
                <a:cxn ang="0">
                  <a:pos x="5" y="18"/>
                </a:cxn>
                <a:cxn ang="0">
                  <a:pos x="14" y="18"/>
                </a:cxn>
                <a:cxn ang="0">
                  <a:pos x="24" y="18"/>
                </a:cxn>
                <a:cxn ang="0">
                  <a:pos x="27" y="15"/>
                </a:cxn>
                <a:cxn ang="0">
                  <a:pos x="27" y="14"/>
                </a:cxn>
                <a:cxn ang="0">
                  <a:pos x="28" y="13"/>
                </a:cxn>
                <a:cxn ang="0">
                  <a:pos x="27" y="11"/>
                </a:cxn>
                <a:cxn ang="0">
                  <a:pos x="27" y="9"/>
                </a:cxn>
                <a:cxn ang="0">
                  <a:pos x="28" y="8"/>
                </a:cxn>
              </a:cxnLst>
              <a:rect l="0" t="0" r="r" b="b"/>
              <a:pathLst>
                <a:path w="28" h="18">
                  <a:moveTo>
                    <a:pt x="28" y="8"/>
                  </a:moveTo>
                  <a:cubicBezTo>
                    <a:pt x="28" y="8"/>
                    <a:pt x="28" y="7"/>
                    <a:pt x="27" y="7"/>
                  </a:cubicBezTo>
                  <a:cubicBezTo>
                    <a:pt x="27" y="5"/>
                    <a:pt x="27" y="5"/>
                    <a:pt x="27" y="5"/>
                  </a:cubicBezTo>
                  <a:cubicBezTo>
                    <a:pt x="28" y="5"/>
                    <a:pt x="28" y="4"/>
                    <a:pt x="28" y="4"/>
                  </a:cubicBezTo>
                  <a:cubicBezTo>
                    <a:pt x="28" y="4"/>
                    <a:pt x="28" y="3"/>
                    <a:pt x="27" y="3"/>
                  </a:cubicBezTo>
                  <a:cubicBezTo>
                    <a:pt x="27" y="0"/>
                    <a:pt x="27" y="0"/>
                    <a:pt x="27" y="0"/>
                  </a:cubicBezTo>
                  <a:cubicBezTo>
                    <a:pt x="14" y="0"/>
                    <a:pt x="14" y="0"/>
                    <a:pt x="14" y="0"/>
                  </a:cubicBezTo>
                  <a:cubicBezTo>
                    <a:pt x="2" y="0"/>
                    <a:pt x="2" y="0"/>
                    <a:pt x="2" y="0"/>
                  </a:cubicBezTo>
                  <a:cubicBezTo>
                    <a:pt x="2" y="3"/>
                    <a:pt x="2" y="3"/>
                    <a:pt x="2" y="3"/>
                  </a:cubicBezTo>
                  <a:cubicBezTo>
                    <a:pt x="1" y="3"/>
                    <a:pt x="0" y="4"/>
                    <a:pt x="0" y="4"/>
                  </a:cubicBezTo>
                  <a:cubicBezTo>
                    <a:pt x="0" y="4"/>
                    <a:pt x="1" y="5"/>
                    <a:pt x="2" y="5"/>
                  </a:cubicBezTo>
                  <a:cubicBezTo>
                    <a:pt x="2" y="7"/>
                    <a:pt x="2" y="7"/>
                    <a:pt x="2" y="7"/>
                  </a:cubicBezTo>
                  <a:cubicBezTo>
                    <a:pt x="1" y="7"/>
                    <a:pt x="0" y="8"/>
                    <a:pt x="0" y="8"/>
                  </a:cubicBezTo>
                  <a:cubicBezTo>
                    <a:pt x="0" y="9"/>
                    <a:pt x="1" y="9"/>
                    <a:pt x="2" y="9"/>
                  </a:cubicBezTo>
                  <a:cubicBezTo>
                    <a:pt x="2" y="11"/>
                    <a:pt x="2" y="11"/>
                    <a:pt x="2" y="11"/>
                  </a:cubicBezTo>
                  <a:cubicBezTo>
                    <a:pt x="1" y="12"/>
                    <a:pt x="0" y="12"/>
                    <a:pt x="0" y="13"/>
                  </a:cubicBezTo>
                  <a:cubicBezTo>
                    <a:pt x="0" y="13"/>
                    <a:pt x="1" y="13"/>
                    <a:pt x="2" y="14"/>
                  </a:cubicBezTo>
                  <a:cubicBezTo>
                    <a:pt x="2" y="15"/>
                    <a:pt x="2" y="15"/>
                    <a:pt x="2" y="15"/>
                  </a:cubicBezTo>
                  <a:cubicBezTo>
                    <a:pt x="2" y="16"/>
                    <a:pt x="3" y="18"/>
                    <a:pt x="5" y="18"/>
                  </a:cubicBezTo>
                  <a:cubicBezTo>
                    <a:pt x="14" y="18"/>
                    <a:pt x="14" y="18"/>
                    <a:pt x="14" y="18"/>
                  </a:cubicBezTo>
                  <a:cubicBezTo>
                    <a:pt x="24" y="18"/>
                    <a:pt x="24" y="18"/>
                    <a:pt x="24" y="18"/>
                  </a:cubicBezTo>
                  <a:cubicBezTo>
                    <a:pt x="25" y="18"/>
                    <a:pt x="27" y="16"/>
                    <a:pt x="27" y="15"/>
                  </a:cubicBezTo>
                  <a:cubicBezTo>
                    <a:pt x="27" y="14"/>
                    <a:pt x="27" y="14"/>
                    <a:pt x="27" y="14"/>
                  </a:cubicBezTo>
                  <a:cubicBezTo>
                    <a:pt x="28" y="13"/>
                    <a:pt x="28" y="13"/>
                    <a:pt x="28" y="13"/>
                  </a:cubicBezTo>
                  <a:cubicBezTo>
                    <a:pt x="28" y="12"/>
                    <a:pt x="28" y="12"/>
                    <a:pt x="27" y="11"/>
                  </a:cubicBezTo>
                  <a:cubicBezTo>
                    <a:pt x="27" y="9"/>
                    <a:pt x="27" y="9"/>
                    <a:pt x="27" y="9"/>
                  </a:cubicBezTo>
                  <a:cubicBezTo>
                    <a:pt x="28" y="9"/>
                    <a:pt x="28" y="8"/>
                    <a:pt x="2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3" name="Freeform 35"/>
          <p:cNvSpPr>
            <a:spLocks noChangeAspect="1" noEditPoints="1"/>
          </p:cNvSpPr>
          <p:nvPr/>
        </p:nvSpPr>
        <p:spPr bwMode="gray">
          <a:xfrm>
            <a:off x="6602426" y="3278206"/>
            <a:ext cx="417036" cy="386785"/>
          </a:xfrm>
          <a:custGeom>
            <a:avLst/>
            <a:gdLst/>
            <a:ahLst/>
            <a:cxnLst>
              <a:cxn ang="0">
                <a:pos x="18" y="34"/>
              </a:cxn>
              <a:cxn ang="0">
                <a:pos x="41" y="10"/>
              </a:cxn>
              <a:cxn ang="0">
                <a:pos x="56" y="25"/>
              </a:cxn>
              <a:cxn ang="0">
                <a:pos x="34" y="49"/>
              </a:cxn>
              <a:cxn ang="0">
                <a:pos x="18" y="34"/>
              </a:cxn>
              <a:cxn ang="0">
                <a:pos x="59" y="23"/>
              </a:cxn>
              <a:cxn ang="0">
                <a:pos x="63" y="22"/>
              </a:cxn>
              <a:cxn ang="0">
                <a:pos x="65" y="21"/>
              </a:cxn>
              <a:cxn ang="0">
                <a:pos x="65" y="17"/>
              </a:cxn>
              <a:cxn ang="0">
                <a:pos x="48" y="1"/>
              </a:cxn>
              <a:cxn ang="0">
                <a:pos x="44" y="1"/>
              </a:cxn>
              <a:cxn ang="0">
                <a:pos x="43" y="3"/>
              </a:cxn>
              <a:cxn ang="0">
                <a:pos x="43" y="7"/>
              </a:cxn>
              <a:cxn ang="0">
                <a:pos x="59" y="23"/>
              </a:cxn>
              <a:cxn ang="0">
                <a:pos x="26" y="58"/>
              </a:cxn>
              <a:cxn ang="0">
                <a:pos x="30" y="58"/>
              </a:cxn>
              <a:cxn ang="0">
                <a:pos x="32" y="56"/>
              </a:cxn>
              <a:cxn ang="0">
                <a:pos x="32" y="52"/>
              </a:cxn>
              <a:cxn ang="0">
                <a:pos x="15" y="36"/>
              </a:cxn>
              <a:cxn ang="0">
                <a:pos x="11" y="36"/>
              </a:cxn>
              <a:cxn ang="0">
                <a:pos x="10" y="38"/>
              </a:cxn>
              <a:cxn ang="0">
                <a:pos x="10" y="42"/>
              </a:cxn>
              <a:cxn ang="0">
                <a:pos x="26" y="58"/>
              </a:cxn>
              <a:cxn ang="0">
                <a:pos x="44" y="43"/>
              </a:cxn>
              <a:cxn ang="0">
                <a:pos x="98" y="93"/>
              </a:cxn>
              <a:cxn ang="0">
                <a:pos x="105" y="95"/>
              </a:cxn>
              <a:cxn ang="0">
                <a:pos x="107" y="92"/>
              </a:cxn>
              <a:cxn ang="0">
                <a:pos x="105" y="86"/>
              </a:cxn>
              <a:cxn ang="0">
                <a:pos x="51" y="35"/>
              </a:cxn>
              <a:cxn ang="0">
                <a:pos x="44" y="43"/>
              </a:cxn>
              <a:cxn ang="0">
                <a:pos x="63" y="93"/>
              </a:cxn>
              <a:cxn ang="0">
                <a:pos x="61" y="92"/>
              </a:cxn>
              <a:cxn ang="0">
                <a:pos x="1" y="92"/>
              </a:cxn>
              <a:cxn ang="0">
                <a:pos x="0" y="93"/>
              </a:cxn>
              <a:cxn ang="0">
                <a:pos x="0" y="98"/>
              </a:cxn>
              <a:cxn ang="0">
                <a:pos x="1" y="100"/>
              </a:cxn>
              <a:cxn ang="0">
                <a:pos x="61" y="100"/>
              </a:cxn>
              <a:cxn ang="0">
                <a:pos x="63" y="98"/>
              </a:cxn>
              <a:cxn ang="0">
                <a:pos x="63" y="93"/>
              </a:cxn>
              <a:cxn ang="0">
                <a:pos x="14" y="82"/>
              </a:cxn>
              <a:cxn ang="0">
                <a:pos x="49" y="82"/>
              </a:cxn>
              <a:cxn ang="0">
                <a:pos x="53" y="85"/>
              </a:cxn>
              <a:cxn ang="0">
                <a:pos x="53" y="89"/>
              </a:cxn>
              <a:cxn ang="0">
                <a:pos x="9" y="89"/>
              </a:cxn>
              <a:cxn ang="0">
                <a:pos x="9" y="85"/>
              </a:cxn>
              <a:cxn ang="0">
                <a:pos x="14" y="82"/>
              </a:cxn>
            </a:cxnLst>
            <a:rect l="0" t="0" r="r" b="b"/>
            <a:pathLst>
              <a:path w="108" h="100">
                <a:moveTo>
                  <a:pt x="18" y="34"/>
                </a:moveTo>
                <a:cubicBezTo>
                  <a:pt x="41" y="10"/>
                  <a:pt x="41" y="10"/>
                  <a:pt x="41" y="10"/>
                </a:cubicBezTo>
                <a:cubicBezTo>
                  <a:pt x="56" y="25"/>
                  <a:pt x="56" y="25"/>
                  <a:pt x="56" y="25"/>
                </a:cubicBezTo>
                <a:cubicBezTo>
                  <a:pt x="34" y="49"/>
                  <a:pt x="34" y="49"/>
                  <a:pt x="34" y="49"/>
                </a:cubicBezTo>
                <a:lnTo>
                  <a:pt x="18" y="34"/>
                </a:lnTo>
                <a:close/>
                <a:moveTo>
                  <a:pt x="59" y="23"/>
                </a:moveTo>
                <a:cubicBezTo>
                  <a:pt x="60" y="24"/>
                  <a:pt x="62" y="24"/>
                  <a:pt x="63" y="22"/>
                </a:cubicBezTo>
                <a:cubicBezTo>
                  <a:pt x="65" y="21"/>
                  <a:pt x="65" y="21"/>
                  <a:pt x="65" y="21"/>
                </a:cubicBezTo>
                <a:cubicBezTo>
                  <a:pt x="66" y="20"/>
                  <a:pt x="66" y="18"/>
                  <a:pt x="65" y="17"/>
                </a:cubicBezTo>
                <a:cubicBezTo>
                  <a:pt x="48" y="1"/>
                  <a:pt x="48" y="1"/>
                  <a:pt x="48" y="1"/>
                </a:cubicBezTo>
                <a:cubicBezTo>
                  <a:pt x="47" y="0"/>
                  <a:pt x="45" y="0"/>
                  <a:pt x="44" y="1"/>
                </a:cubicBezTo>
                <a:cubicBezTo>
                  <a:pt x="43" y="3"/>
                  <a:pt x="43" y="3"/>
                  <a:pt x="43" y="3"/>
                </a:cubicBezTo>
                <a:cubicBezTo>
                  <a:pt x="41" y="4"/>
                  <a:pt x="42" y="6"/>
                  <a:pt x="43" y="7"/>
                </a:cubicBezTo>
                <a:lnTo>
                  <a:pt x="59" y="23"/>
                </a:lnTo>
                <a:close/>
                <a:moveTo>
                  <a:pt x="26" y="58"/>
                </a:moveTo>
                <a:cubicBezTo>
                  <a:pt x="27" y="59"/>
                  <a:pt x="29" y="59"/>
                  <a:pt x="30" y="58"/>
                </a:cubicBezTo>
                <a:cubicBezTo>
                  <a:pt x="32" y="56"/>
                  <a:pt x="32" y="56"/>
                  <a:pt x="32" y="56"/>
                </a:cubicBezTo>
                <a:cubicBezTo>
                  <a:pt x="33" y="55"/>
                  <a:pt x="33" y="53"/>
                  <a:pt x="32" y="52"/>
                </a:cubicBezTo>
                <a:cubicBezTo>
                  <a:pt x="15" y="36"/>
                  <a:pt x="15" y="36"/>
                  <a:pt x="15" y="36"/>
                </a:cubicBezTo>
                <a:cubicBezTo>
                  <a:pt x="14" y="35"/>
                  <a:pt x="12" y="35"/>
                  <a:pt x="11" y="36"/>
                </a:cubicBezTo>
                <a:cubicBezTo>
                  <a:pt x="10" y="38"/>
                  <a:pt x="10" y="38"/>
                  <a:pt x="10" y="38"/>
                </a:cubicBezTo>
                <a:cubicBezTo>
                  <a:pt x="8" y="39"/>
                  <a:pt x="9" y="41"/>
                  <a:pt x="10" y="42"/>
                </a:cubicBezTo>
                <a:lnTo>
                  <a:pt x="26" y="58"/>
                </a:lnTo>
                <a:close/>
                <a:moveTo>
                  <a:pt x="44" y="43"/>
                </a:moveTo>
                <a:cubicBezTo>
                  <a:pt x="98" y="93"/>
                  <a:pt x="98" y="93"/>
                  <a:pt x="98" y="93"/>
                </a:cubicBezTo>
                <a:cubicBezTo>
                  <a:pt x="100" y="96"/>
                  <a:pt x="103" y="96"/>
                  <a:pt x="105" y="95"/>
                </a:cubicBezTo>
                <a:cubicBezTo>
                  <a:pt x="107" y="92"/>
                  <a:pt x="107" y="92"/>
                  <a:pt x="107" y="92"/>
                </a:cubicBezTo>
                <a:cubicBezTo>
                  <a:pt x="108" y="91"/>
                  <a:pt x="107" y="88"/>
                  <a:pt x="105" y="86"/>
                </a:cubicBezTo>
                <a:cubicBezTo>
                  <a:pt x="51" y="35"/>
                  <a:pt x="51" y="35"/>
                  <a:pt x="51" y="35"/>
                </a:cubicBezTo>
                <a:lnTo>
                  <a:pt x="44" y="43"/>
                </a:lnTo>
                <a:close/>
                <a:moveTo>
                  <a:pt x="63" y="93"/>
                </a:moveTo>
                <a:cubicBezTo>
                  <a:pt x="63" y="93"/>
                  <a:pt x="62" y="92"/>
                  <a:pt x="61" y="92"/>
                </a:cubicBezTo>
                <a:cubicBezTo>
                  <a:pt x="1" y="92"/>
                  <a:pt x="1" y="92"/>
                  <a:pt x="1" y="92"/>
                </a:cubicBezTo>
                <a:cubicBezTo>
                  <a:pt x="1" y="92"/>
                  <a:pt x="0" y="93"/>
                  <a:pt x="0" y="93"/>
                </a:cubicBezTo>
                <a:cubicBezTo>
                  <a:pt x="0" y="98"/>
                  <a:pt x="0" y="98"/>
                  <a:pt x="0" y="98"/>
                </a:cubicBezTo>
                <a:cubicBezTo>
                  <a:pt x="0" y="99"/>
                  <a:pt x="1" y="100"/>
                  <a:pt x="1" y="100"/>
                </a:cubicBezTo>
                <a:cubicBezTo>
                  <a:pt x="61" y="100"/>
                  <a:pt x="61" y="100"/>
                  <a:pt x="61" y="100"/>
                </a:cubicBezTo>
                <a:cubicBezTo>
                  <a:pt x="62" y="100"/>
                  <a:pt x="63" y="99"/>
                  <a:pt x="63" y="98"/>
                </a:cubicBezTo>
                <a:lnTo>
                  <a:pt x="63" y="93"/>
                </a:lnTo>
                <a:close/>
                <a:moveTo>
                  <a:pt x="14" y="82"/>
                </a:moveTo>
                <a:cubicBezTo>
                  <a:pt x="49" y="82"/>
                  <a:pt x="49" y="82"/>
                  <a:pt x="49" y="82"/>
                </a:cubicBezTo>
                <a:cubicBezTo>
                  <a:pt x="51" y="82"/>
                  <a:pt x="53" y="83"/>
                  <a:pt x="53" y="85"/>
                </a:cubicBezTo>
                <a:cubicBezTo>
                  <a:pt x="53" y="89"/>
                  <a:pt x="53" y="89"/>
                  <a:pt x="53" y="89"/>
                </a:cubicBezTo>
                <a:cubicBezTo>
                  <a:pt x="9" y="89"/>
                  <a:pt x="9" y="89"/>
                  <a:pt x="9" y="89"/>
                </a:cubicBezTo>
                <a:cubicBezTo>
                  <a:pt x="9" y="85"/>
                  <a:pt x="9" y="85"/>
                  <a:pt x="9" y="85"/>
                </a:cubicBezTo>
                <a:cubicBezTo>
                  <a:pt x="10" y="83"/>
                  <a:pt x="12" y="82"/>
                  <a:pt x="14" y="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25"/>
          <p:cNvSpPr>
            <a:spLocks noChangeAspect="1" noEditPoints="1"/>
          </p:cNvSpPr>
          <p:nvPr/>
        </p:nvSpPr>
        <p:spPr bwMode="gray">
          <a:xfrm>
            <a:off x="4912189" y="3281793"/>
            <a:ext cx="465953" cy="409690"/>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71"/>
          <p:cNvSpPr>
            <a:spLocks noChangeAspect="1" noEditPoints="1"/>
          </p:cNvSpPr>
          <p:nvPr/>
        </p:nvSpPr>
        <p:spPr bwMode="gray">
          <a:xfrm>
            <a:off x="5644386" y="2752492"/>
            <a:ext cx="626712" cy="545202"/>
          </a:xfrm>
          <a:custGeom>
            <a:avLst/>
            <a:gdLst/>
            <a:ahLst/>
            <a:cxnLst>
              <a:cxn ang="0">
                <a:pos x="100" y="47"/>
              </a:cxn>
              <a:cxn ang="0">
                <a:pos x="81" y="16"/>
              </a:cxn>
              <a:cxn ang="0">
                <a:pos x="82" y="9"/>
              </a:cxn>
              <a:cxn ang="0">
                <a:pos x="77" y="11"/>
              </a:cxn>
              <a:cxn ang="0">
                <a:pos x="74" y="13"/>
              </a:cxn>
              <a:cxn ang="0">
                <a:pos x="37" y="11"/>
              </a:cxn>
              <a:cxn ang="0">
                <a:pos x="28" y="5"/>
              </a:cxn>
              <a:cxn ang="0">
                <a:pos x="33" y="14"/>
              </a:cxn>
              <a:cxn ang="0">
                <a:pos x="14" y="47"/>
              </a:cxn>
              <a:cxn ang="0">
                <a:pos x="0" y="49"/>
              </a:cxn>
              <a:cxn ang="0">
                <a:pos x="14" y="52"/>
              </a:cxn>
              <a:cxn ang="0">
                <a:pos x="33" y="82"/>
              </a:cxn>
              <a:cxn ang="0">
                <a:pos x="34" y="86"/>
              </a:cxn>
              <a:cxn ang="0">
                <a:pos x="35" y="91"/>
              </a:cxn>
              <a:cxn ang="0">
                <a:pos x="40" y="87"/>
              </a:cxn>
              <a:cxn ang="0">
                <a:pos x="76" y="88"/>
              </a:cxn>
              <a:cxn ang="0">
                <a:pos x="85" y="99"/>
              </a:cxn>
              <a:cxn ang="0">
                <a:pos x="81" y="85"/>
              </a:cxn>
              <a:cxn ang="0">
                <a:pos x="99" y="53"/>
              </a:cxn>
              <a:cxn ang="0">
                <a:pos x="110" y="52"/>
              </a:cxn>
              <a:cxn ang="0">
                <a:pos x="45" y="23"/>
              </a:cxn>
              <a:cxn ang="0">
                <a:pos x="69" y="21"/>
              </a:cxn>
              <a:cxn ang="0">
                <a:pos x="65" y="31"/>
              </a:cxn>
              <a:cxn ang="0">
                <a:pos x="59" y="38"/>
              </a:cxn>
              <a:cxn ang="0">
                <a:pos x="53" y="37"/>
              </a:cxn>
              <a:cxn ang="0">
                <a:pos x="38" y="25"/>
              </a:cxn>
              <a:cxn ang="0">
                <a:pos x="45" y="33"/>
              </a:cxn>
              <a:cxn ang="0">
                <a:pos x="48" y="42"/>
              </a:cxn>
              <a:cxn ang="0">
                <a:pos x="44" y="47"/>
              </a:cxn>
              <a:cxn ang="0">
                <a:pos x="28" y="47"/>
              </a:cxn>
              <a:cxn ang="0">
                <a:pos x="41" y="73"/>
              </a:cxn>
              <a:cxn ang="0">
                <a:pos x="30" y="65"/>
              </a:cxn>
              <a:cxn ang="0">
                <a:pos x="29" y="51"/>
              </a:cxn>
              <a:cxn ang="0">
                <a:pos x="44" y="52"/>
              </a:cxn>
              <a:cxn ang="0">
                <a:pos x="48" y="57"/>
              </a:cxn>
              <a:cxn ang="0">
                <a:pos x="45" y="66"/>
              </a:cxn>
              <a:cxn ang="0">
                <a:pos x="69" y="77"/>
              </a:cxn>
              <a:cxn ang="0">
                <a:pos x="45" y="76"/>
              </a:cxn>
              <a:cxn ang="0">
                <a:pos x="52" y="62"/>
              </a:cxn>
              <a:cxn ang="0">
                <a:pos x="59" y="60"/>
              </a:cxn>
              <a:cxn ang="0">
                <a:pos x="62" y="62"/>
              </a:cxn>
              <a:cxn ang="0">
                <a:pos x="62" y="47"/>
              </a:cxn>
              <a:cxn ang="0">
                <a:pos x="74" y="73"/>
              </a:cxn>
              <a:cxn ang="0">
                <a:pos x="66" y="59"/>
              </a:cxn>
              <a:cxn ang="0">
                <a:pos x="68" y="53"/>
              </a:cxn>
              <a:cxn ang="0">
                <a:pos x="78" y="52"/>
              </a:cxn>
              <a:cxn ang="0">
                <a:pos x="88" y="53"/>
              </a:cxn>
              <a:cxn ang="0">
                <a:pos x="86" y="47"/>
              </a:cxn>
              <a:cxn ang="0">
                <a:pos x="70" y="48"/>
              </a:cxn>
              <a:cxn ang="0">
                <a:pos x="67" y="44"/>
              </a:cxn>
              <a:cxn ang="0">
                <a:pos x="65" y="39"/>
              </a:cxn>
              <a:cxn ang="0">
                <a:pos x="74" y="26"/>
              </a:cxn>
              <a:cxn ang="0">
                <a:pos x="55" y="46"/>
              </a:cxn>
            </a:cxnLst>
            <a:rect l="0" t="0" r="r" b="b"/>
            <a:pathLst>
              <a:path w="114" h="99">
                <a:moveTo>
                  <a:pt x="110" y="47"/>
                </a:moveTo>
                <a:cubicBezTo>
                  <a:pt x="108" y="47"/>
                  <a:pt x="106" y="48"/>
                  <a:pt x="104" y="48"/>
                </a:cubicBezTo>
                <a:cubicBezTo>
                  <a:pt x="102" y="48"/>
                  <a:pt x="101" y="48"/>
                  <a:pt x="101" y="48"/>
                </a:cubicBezTo>
                <a:cubicBezTo>
                  <a:pt x="101" y="48"/>
                  <a:pt x="101" y="48"/>
                  <a:pt x="101" y="48"/>
                </a:cubicBezTo>
                <a:cubicBezTo>
                  <a:pt x="101" y="47"/>
                  <a:pt x="100" y="47"/>
                  <a:pt x="100" y="47"/>
                </a:cubicBezTo>
                <a:cubicBezTo>
                  <a:pt x="100" y="47"/>
                  <a:pt x="100" y="47"/>
                  <a:pt x="100" y="47"/>
                </a:cubicBezTo>
                <a:cubicBezTo>
                  <a:pt x="100" y="47"/>
                  <a:pt x="100" y="46"/>
                  <a:pt x="99" y="46"/>
                </a:cubicBezTo>
                <a:cubicBezTo>
                  <a:pt x="99" y="46"/>
                  <a:pt x="99" y="46"/>
                  <a:pt x="98" y="46"/>
                </a:cubicBezTo>
                <a:cubicBezTo>
                  <a:pt x="97" y="46"/>
                  <a:pt x="97" y="46"/>
                  <a:pt x="97" y="46"/>
                </a:cubicBezTo>
                <a:cubicBezTo>
                  <a:pt x="97" y="40"/>
                  <a:pt x="95" y="34"/>
                  <a:pt x="92" y="29"/>
                </a:cubicBezTo>
                <a:cubicBezTo>
                  <a:pt x="89" y="24"/>
                  <a:pt x="85" y="20"/>
                  <a:pt x="81" y="17"/>
                </a:cubicBezTo>
                <a:cubicBezTo>
                  <a:pt x="81" y="16"/>
                  <a:pt x="81" y="16"/>
                  <a:pt x="81" y="16"/>
                </a:cubicBezTo>
                <a:cubicBezTo>
                  <a:pt x="81" y="15"/>
                  <a:pt x="81" y="15"/>
                  <a:pt x="81" y="14"/>
                </a:cubicBezTo>
                <a:cubicBezTo>
                  <a:pt x="81" y="14"/>
                  <a:pt x="81" y="14"/>
                  <a:pt x="81" y="14"/>
                </a:cubicBezTo>
                <a:cubicBezTo>
                  <a:pt x="81" y="14"/>
                  <a:pt x="81" y="14"/>
                  <a:pt x="81" y="14"/>
                </a:cubicBezTo>
                <a:cubicBezTo>
                  <a:pt x="81" y="13"/>
                  <a:pt x="81" y="13"/>
                  <a:pt x="81" y="12"/>
                </a:cubicBezTo>
                <a:cubicBezTo>
                  <a:pt x="81" y="12"/>
                  <a:pt x="81" y="12"/>
                  <a:pt x="81" y="12"/>
                </a:cubicBezTo>
                <a:cubicBezTo>
                  <a:pt x="81" y="12"/>
                  <a:pt x="81" y="11"/>
                  <a:pt x="82" y="9"/>
                </a:cubicBezTo>
                <a:cubicBezTo>
                  <a:pt x="83" y="7"/>
                  <a:pt x="85" y="6"/>
                  <a:pt x="86" y="5"/>
                </a:cubicBezTo>
                <a:cubicBezTo>
                  <a:pt x="87" y="3"/>
                  <a:pt x="87" y="1"/>
                  <a:pt x="85" y="0"/>
                </a:cubicBezTo>
                <a:cubicBezTo>
                  <a:pt x="85" y="0"/>
                  <a:pt x="85" y="0"/>
                  <a:pt x="85" y="0"/>
                </a:cubicBezTo>
                <a:cubicBezTo>
                  <a:pt x="84" y="0"/>
                  <a:pt x="83" y="0"/>
                  <a:pt x="82" y="2"/>
                </a:cubicBezTo>
                <a:cubicBezTo>
                  <a:pt x="81" y="4"/>
                  <a:pt x="81" y="6"/>
                  <a:pt x="79" y="8"/>
                </a:cubicBezTo>
                <a:cubicBezTo>
                  <a:pt x="78" y="10"/>
                  <a:pt x="78" y="10"/>
                  <a:pt x="77" y="11"/>
                </a:cubicBezTo>
                <a:cubicBezTo>
                  <a:pt x="77" y="11"/>
                  <a:pt x="77" y="11"/>
                  <a:pt x="77" y="11"/>
                </a:cubicBezTo>
                <a:cubicBezTo>
                  <a:pt x="77" y="10"/>
                  <a:pt x="76" y="11"/>
                  <a:pt x="76" y="11"/>
                </a:cubicBezTo>
                <a:cubicBezTo>
                  <a:pt x="76" y="11"/>
                  <a:pt x="76" y="11"/>
                  <a:pt x="76" y="11"/>
                </a:cubicBezTo>
                <a:cubicBezTo>
                  <a:pt x="76" y="11"/>
                  <a:pt x="76" y="11"/>
                  <a:pt x="75" y="11"/>
                </a:cubicBezTo>
                <a:cubicBezTo>
                  <a:pt x="75" y="11"/>
                  <a:pt x="74" y="11"/>
                  <a:pt x="74" y="12"/>
                </a:cubicBezTo>
                <a:cubicBezTo>
                  <a:pt x="74" y="13"/>
                  <a:pt x="74" y="13"/>
                  <a:pt x="74" y="13"/>
                </a:cubicBezTo>
                <a:cubicBezTo>
                  <a:pt x="63" y="8"/>
                  <a:pt x="51" y="8"/>
                  <a:pt x="40" y="13"/>
                </a:cubicBezTo>
                <a:cubicBezTo>
                  <a:pt x="40" y="12"/>
                  <a:pt x="40" y="12"/>
                  <a:pt x="40" y="12"/>
                </a:cubicBezTo>
                <a:cubicBezTo>
                  <a:pt x="40" y="11"/>
                  <a:pt x="39" y="11"/>
                  <a:pt x="39" y="11"/>
                </a:cubicBezTo>
                <a:cubicBezTo>
                  <a:pt x="39" y="11"/>
                  <a:pt x="38" y="11"/>
                  <a:pt x="38" y="11"/>
                </a:cubicBezTo>
                <a:cubicBezTo>
                  <a:pt x="38" y="11"/>
                  <a:pt x="38" y="11"/>
                  <a:pt x="38" y="11"/>
                </a:cubicBezTo>
                <a:cubicBezTo>
                  <a:pt x="38" y="11"/>
                  <a:pt x="37" y="10"/>
                  <a:pt x="37" y="11"/>
                </a:cubicBezTo>
                <a:cubicBezTo>
                  <a:pt x="37" y="11"/>
                  <a:pt x="37" y="11"/>
                  <a:pt x="37" y="11"/>
                </a:cubicBezTo>
                <a:cubicBezTo>
                  <a:pt x="36" y="10"/>
                  <a:pt x="36" y="10"/>
                  <a:pt x="35" y="8"/>
                </a:cubicBezTo>
                <a:cubicBezTo>
                  <a:pt x="33" y="6"/>
                  <a:pt x="34" y="4"/>
                  <a:pt x="33" y="2"/>
                </a:cubicBezTo>
                <a:cubicBezTo>
                  <a:pt x="32" y="0"/>
                  <a:pt x="30" y="0"/>
                  <a:pt x="29" y="0"/>
                </a:cubicBezTo>
                <a:cubicBezTo>
                  <a:pt x="29" y="0"/>
                  <a:pt x="29" y="0"/>
                  <a:pt x="29" y="0"/>
                </a:cubicBezTo>
                <a:cubicBezTo>
                  <a:pt x="27" y="1"/>
                  <a:pt x="27" y="3"/>
                  <a:pt x="28" y="5"/>
                </a:cubicBezTo>
                <a:cubicBezTo>
                  <a:pt x="29" y="6"/>
                  <a:pt x="31" y="7"/>
                  <a:pt x="32" y="9"/>
                </a:cubicBezTo>
                <a:cubicBezTo>
                  <a:pt x="33" y="11"/>
                  <a:pt x="34" y="12"/>
                  <a:pt x="34" y="12"/>
                </a:cubicBezTo>
                <a:cubicBezTo>
                  <a:pt x="34" y="12"/>
                  <a:pt x="34" y="12"/>
                  <a:pt x="34" y="12"/>
                </a:cubicBezTo>
                <a:cubicBezTo>
                  <a:pt x="33" y="13"/>
                  <a:pt x="33" y="13"/>
                  <a:pt x="33" y="14"/>
                </a:cubicBezTo>
                <a:cubicBezTo>
                  <a:pt x="33" y="14"/>
                  <a:pt x="33" y="14"/>
                  <a:pt x="33" y="14"/>
                </a:cubicBezTo>
                <a:cubicBezTo>
                  <a:pt x="33" y="14"/>
                  <a:pt x="33" y="14"/>
                  <a:pt x="33" y="14"/>
                </a:cubicBezTo>
                <a:cubicBezTo>
                  <a:pt x="33" y="15"/>
                  <a:pt x="33" y="15"/>
                  <a:pt x="33" y="16"/>
                </a:cubicBezTo>
                <a:cubicBezTo>
                  <a:pt x="33" y="17"/>
                  <a:pt x="33" y="17"/>
                  <a:pt x="33" y="17"/>
                </a:cubicBezTo>
                <a:cubicBezTo>
                  <a:pt x="24" y="23"/>
                  <a:pt x="18" y="34"/>
                  <a:pt x="17" y="46"/>
                </a:cubicBezTo>
                <a:cubicBezTo>
                  <a:pt x="16" y="46"/>
                  <a:pt x="16" y="46"/>
                  <a:pt x="16" y="46"/>
                </a:cubicBezTo>
                <a:cubicBezTo>
                  <a:pt x="15" y="46"/>
                  <a:pt x="15" y="46"/>
                  <a:pt x="15" y="46"/>
                </a:cubicBezTo>
                <a:cubicBezTo>
                  <a:pt x="14" y="46"/>
                  <a:pt x="14" y="47"/>
                  <a:pt x="14" y="47"/>
                </a:cubicBezTo>
                <a:cubicBezTo>
                  <a:pt x="14" y="47"/>
                  <a:pt x="14" y="47"/>
                  <a:pt x="14" y="47"/>
                </a:cubicBezTo>
                <a:cubicBezTo>
                  <a:pt x="14" y="47"/>
                  <a:pt x="13" y="47"/>
                  <a:pt x="13" y="48"/>
                </a:cubicBezTo>
                <a:cubicBezTo>
                  <a:pt x="13" y="48"/>
                  <a:pt x="13" y="48"/>
                  <a:pt x="13" y="48"/>
                </a:cubicBezTo>
                <a:cubicBezTo>
                  <a:pt x="13" y="48"/>
                  <a:pt x="12" y="48"/>
                  <a:pt x="10" y="48"/>
                </a:cubicBezTo>
                <a:cubicBezTo>
                  <a:pt x="8" y="48"/>
                  <a:pt x="6" y="47"/>
                  <a:pt x="4" y="47"/>
                </a:cubicBezTo>
                <a:cubicBezTo>
                  <a:pt x="2" y="47"/>
                  <a:pt x="0" y="48"/>
                  <a:pt x="0" y="49"/>
                </a:cubicBezTo>
                <a:cubicBezTo>
                  <a:pt x="0" y="49"/>
                  <a:pt x="0" y="49"/>
                  <a:pt x="0" y="49"/>
                </a:cubicBezTo>
                <a:cubicBezTo>
                  <a:pt x="0" y="51"/>
                  <a:pt x="2" y="52"/>
                  <a:pt x="4" y="52"/>
                </a:cubicBezTo>
                <a:cubicBezTo>
                  <a:pt x="6" y="52"/>
                  <a:pt x="8" y="51"/>
                  <a:pt x="10" y="51"/>
                </a:cubicBezTo>
                <a:cubicBezTo>
                  <a:pt x="12" y="51"/>
                  <a:pt x="13" y="51"/>
                  <a:pt x="13" y="51"/>
                </a:cubicBezTo>
                <a:cubicBezTo>
                  <a:pt x="13" y="51"/>
                  <a:pt x="13" y="51"/>
                  <a:pt x="13" y="51"/>
                </a:cubicBezTo>
                <a:cubicBezTo>
                  <a:pt x="13" y="52"/>
                  <a:pt x="14" y="52"/>
                  <a:pt x="14" y="52"/>
                </a:cubicBezTo>
                <a:cubicBezTo>
                  <a:pt x="14" y="52"/>
                  <a:pt x="14" y="52"/>
                  <a:pt x="14" y="52"/>
                </a:cubicBezTo>
                <a:cubicBezTo>
                  <a:pt x="14" y="52"/>
                  <a:pt x="14" y="53"/>
                  <a:pt x="15" y="53"/>
                </a:cubicBezTo>
                <a:cubicBezTo>
                  <a:pt x="15" y="53"/>
                  <a:pt x="15" y="53"/>
                  <a:pt x="16" y="53"/>
                </a:cubicBezTo>
                <a:cubicBezTo>
                  <a:pt x="17" y="53"/>
                  <a:pt x="17" y="53"/>
                  <a:pt x="17" y="53"/>
                </a:cubicBezTo>
                <a:cubicBezTo>
                  <a:pt x="17" y="59"/>
                  <a:pt x="19" y="65"/>
                  <a:pt x="22" y="70"/>
                </a:cubicBezTo>
                <a:cubicBezTo>
                  <a:pt x="25" y="75"/>
                  <a:pt x="29" y="79"/>
                  <a:pt x="33" y="82"/>
                </a:cubicBezTo>
                <a:cubicBezTo>
                  <a:pt x="33" y="83"/>
                  <a:pt x="33" y="83"/>
                  <a:pt x="33" y="83"/>
                </a:cubicBezTo>
                <a:cubicBezTo>
                  <a:pt x="33" y="84"/>
                  <a:pt x="33" y="84"/>
                  <a:pt x="33" y="84"/>
                </a:cubicBezTo>
                <a:cubicBezTo>
                  <a:pt x="33" y="85"/>
                  <a:pt x="33" y="85"/>
                  <a:pt x="33" y="85"/>
                </a:cubicBezTo>
                <a:cubicBezTo>
                  <a:pt x="33" y="85"/>
                  <a:pt x="33" y="85"/>
                  <a:pt x="33" y="85"/>
                </a:cubicBezTo>
                <a:cubicBezTo>
                  <a:pt x="33" y="86"/>
                  <a:pt x="33" y="86"/>
                  <a:pt x="34" y="86"/>
                </a:cubicBezTo>
                <a:cubicBezTo>
                  <a:pt x="34" y="86"/>
                  <a:pt x="34" y="86"/>
                  <a:pt x="34" y="86"/>
                </a:cubicBezTo>
                <a:cubicBezTo>
                  <a:pt x="34" y="87"/>
                  <a:pt x="33" y="88"/>
                  <a:pt x="32" y="90"/>
                </a:cubicBezTo>
                <a:cubicBezTo>
                  <a:pt x="31" y="92"/>
                  <a:pt x="29" y="93"/>
                  <a:pt x="28" y="94"/>
                </a:cubicBezTo>
                <a:cubicBezTo>
                  <a:pt x="27" y="96"/>
                  <a:pt x="27" y="98"/>
                  <a:pt x="29" y="99"/>
                </a:cubicBezTo>
                <a:cubicBezTo>
                  <a:pt x="29" y="99"/>
                  <a:pt x="29" y="99"/>
                  <a:pt x="29" y="99"/>
                </a:cubicBezTo>
                <a:cubicBezTo>
                  <a:pt x="30" y="99"/>
                  <a:pt x="32" y="99"/>
                  <a:pt x="33" y="97"/>
                </a:cubicBezTo>
                <a:cubicBezTo>
                  <a:pt x="34" y="95"/>
                  <a:pt x="33" y="93"/>
                  <a:pt x="35" y="91"/>
                </a:cubicBezTo>
                <a:cubicBezTo>
                  <a:pt x="36" y="89"/>
                  <a:pt x="36" y="89"/>
                  <a:pt x="37" y="88"/>
                </a:cubicBezTo>
                <a:cubicBezTo>
                  <a:pt x="37" y="88"/>
                  <a:pt x="37" y="88"/>
                  <a:pt x="37" y="88"/>
                </a:cubicBezTo>
                <a:cubicBezTo>
                  <a:pt x="37" y="89"/>
                  <a:pt x="38" y="88"/>
                  <a:pt x="38" y="88"/>
                </a:cubicBezTo>
                <a:cubicBezTo>
                  <a:pt x="38" y="88"/>
                  <a:pt x="38" y="88"/>
                  <a:pt x="38" y="88"/>
                </a:cubicBezTo>
                <a:cubicBezTo>
                  <a:pt x="38" y="88"/>
                  <a:pt x="39" y="88"/>
                  <a:pt x="39" y="88"/>
                </a:cubicBezTo>
                <a:cubicBezTo>
                  <a:pt x="39" y="88"/>
                  <a:pt x="40" y="88"/>
                  <a:pt x="40" y="87"/>
                </a:cubicBezTo>
                <a:cubicBezTo>
                  <a:pt x="40" y="86"/>
                  <a:pt x="40" y="86"/>
                  <a:pt x="40" y="86"/>
                </a:cubicBezTo>
                <a:cubicBezTo>
                  <a:pt x="51" y="91"/>
                  <a:pt x="63" y="91"/>
                  <a:pt x="74" y="86"/>
                </a:cubicBezTo>
                <a:cubicBezTo>
                  <a:pt x="74" y="87"/>
                  <a:pt x="74" y="87"/>
                  <a:pt x="74" y="87"/>
                </a:cubicBezTo>
                <a:cubicBezTo>
                  <a:pt x="74" y="88"/>
                  <a:pt x="75" y="88"/>
                  <a:pt x="75" y="88"/>
                </a:cubicBezTo>
                <a:cubicBezTo>
                  <a:pt x="76" y="88"/>
                  <a:pt x="76" y="88"/>
                  <a:pt x="76" y="88"/>
                </a:cubicBezTo>
                <a:cubicBezTo>
                  <a:pt x="76" y="88"/>
                  <a:pt x="76" y="88"/>
                  <a:pt x="76" y="88"/>
                </a:cubicBezTo>
                <a:cubicBezTo>
                  <a:pt x="76" y="88"/>
                  <a:pt x="77" y="89"/>
                  <a:pt x="77" y="88"/>
                </a:cubicBezTo>
                <a:cubicBezTo>
                  <a:pt x="77" y="88"/>
                  <a:pt x="77" y="88"/>
                  <a:pt x="77" y="88"/>
                </a:cubicBezTo>
                <a:cubicBezTo>
                  <a:pt x="78" y="89"/>
                  <a:pt x="78" y="89"/>
                  <a:pt x="79" y="91"/>
                </a:cubicBezTo>
                <a:cubicBezTo>
                  <a:pt x="81" y="93"/>
                  <a:pt x="81" y="95"/>
                  <a:pt x="82" y="97"/>
                </a:cubicBezTo>
                <a:cubicBezTo>
                  <a:pt x="83" y="99"/>
                  <a:pt x="84" y="99"/>
                  <a:pt x="85" y="99"/>
                </a:cubicBezTo>
                <a:cubicBezTo>
                  <a:pt x="85" y="99"/>
                  <a:pt x="85" y="99"/>
                  <a:pt x="85" y="99"/>
                </a:cubicBezTo>
                <a:cubicBezTo>
                  <a:pt x="87" y="98"/>
                  <a:pt x="87" y="96"/>
                  <a:pt x="86" y="94"/>
                </a:cubicBezTo>
                <a:cubicBezTo>
                  <a:pt x="85" y="93"/>
                  <a:pt x="83" y="92"/>
                  <a:pt x="82" y="90"/>
                </a:cubicBezTo>
                <a:cubicBezTo>
                  <a:pt x="81" y="88"/>
                  <a:pt x="81" y="87"/>
                  <a:pt x="81" y="86"/>
                </a:cubicBezTo>
                <a:cubicBezTo>
                  <a:pt x="81" y="86"/>
                  <a:pt x="81" y="86"/>
                  <a:pt x="81" y="86"/>
                </a:cubicBezTo>
                <a:cubicBezTo>
                  <a:pt x="81" y="86"/>
                  <a:pt x="81" y="86"/>
                  <a:pt x="81" y="85"/>
                </a:cubicBezTo>
                <a:cubicBezTo>
                  <a:pt x="81" y="85"/>
                  <a:pt x="81" y="85"/>
                  <a:pt x="81" y="85"/>
                </a:cubicBezTo>
                <a:cubicBezTo>
                  <a:pt x="81" y="85"/>
                  <a:pt x="81" y="85"/>
                  <a:pt x="81" y="84"/>
                </a:cubicBezTo>
                <a:cubicBezTo>
                  <a:pt x="81" y="84"/>
                  <a:pt x="81" y="84"/>
                  <a:pt x="81" y="83"/>
                </a:cubicBezTo>
                <a:cubicBezTo>
                  <a:pt x="81" y="82"/>
                  <a:pt x="81" y="82"/>
                  <a:pt x="81" y="82"/>
                </a:cubicBezTo>
                <a:cubicBezTo>
                  <a:pt x="90" y="75"/>
                  <a:pt x="96" y="65"/>
                  <a:pt x="97" y="53"/>
                </a:cubicBezTo>
                <a:cubicBezTo>
                  <a:pt x="98" y="53"/>
                  <a:pt x="98" y="53"/>
                  <a:pt x="98" y="53"/>
                </a:cubicBezTo>
                <a:cubicBezTo>
                  <a:pt x="99" y="53"/>
                  <a:pt x="99" y="53"/>
                  <a:pt x="99" y="53"/>
                </a:cubicBezTo>
                <a:cubicBezTo>
                  <a:pt x="100" y="53"/>
                  <a:pt x="100" y="52"/>
                  <a:pt x="100" y="52"/>
                </a:cubicBezTo>
                <a:cubicBezTo>
                  <a:pt x="100" y="52"/>
                  <a:pt x="100" y="52"/>
                  <a:pt x="100" y="52"/>
                </a:cubicBezTo>
                <a:cubicBezTo>
                  <a:pt x="100" y="52"/>
                  <a:pt x="101" y="52"/>
                  <a:pt x="101" y="51"/>
                </a:cubicBezTo>
                <a:cubicBezTo>
                  <a:pt x="101" y="51"/>
                  <a:pt x="101" y="51"/>
                  <a:pt x="101" y="51"/>
                </a:cubicBezTo>
                <a:cubicBezTo>
                  <a:pt x="101" y="51"/>
                  <a:pt x="102" y="51"/>
                  <a:pt x="104" y="51"/>
                </a:cubicBezTo>
                <a:cubicBezTo>
                  <a:pt x="106" y="51"/>
                  <a:pt x="108" y="52"/>
                  <a:pt x="110" y="52"/>
                </a:cubicBezTo>
                <a:cubicBezTo>
                  <a:pt x="112" y="52"/>
                  <a:pt x="114" y="51"/>
                  <a:pt x="114" y="49"/>
                </a:cubicBezTo>
                <a:cubicBezTo>
                  <a:pt x="114" y="49"/>
                  <a:pt x="114" y="49"/>
                  <a:pt x="114" y="49"/>
                </a:cubicBezTo>
                <a:cubicBezTo>
                  <a:pt x="114" y="48"/>
                  <a:pt x="112" y="47"/>
                  <a:pt x="110" y="47"/>
                </a:cubicBezTo>
                <a:close/>
                <a:moveTo>
                  <a:pt x="44" y="24"/>
                </a:moveTo>
                <a:cubicBezTo>
                  <a:pt x="45" y="24"/>
                  <a:pt x="45" y="24"/>
                  <a:pt x="45" y="24"/>
                </a:cubicBezTo>
                <a:cubicBezTo>
                  <a:pt x="45" y="24"/>
                  <a:pt x="45" y="23"/>
                  <a:pt x="45" y="23"/>
                </a:cubicBezTo>
                <a:cubicBezTo>
                  <a:pt x="45" y="23"/>
                  <a:pt x="45" y="23"/>
                  <a:pt x="45" y="23"/>
                </a:cubicBezTo>
                <a:cubicBezTo>
                  <a:pt x="45" y="23"/>
                  <a:pt x="45" y="22"/>
                  <a:pt x="45" y="22"/>
                </a:cubicBezTo>
                <a:cubicBezTo>
                  <a:pt x="45" y="22"/>
                  <a:pt x="45" y="21"/>
                  <a:pt x="45" y="21"/>
                </a:cubicBezTo>
                <a:cubicBezTo>
                  <a:pt x="45" y="21"/>
                  <a:pt x="45" y="21"/>
                  <a:pt x="45" y="21"/>
                </a:cubicBezTo>
                <a:cubicBezTo>
                  <a:pt x="53" y="17"/>
                  <a:pt x="62" y="18"/>
                  <a:pt x="69" y="21"/>
                </a:cubicBezTo>
                <a:cubicBezTo>
                  <a:pt x="69" y="21"/>
                  <a:pt x="69" y="21"/>
                  <a:pt x="69" y="21"/>
                </a:cubicBezTo>
                <a:cubicBezTo>
                  <a:pt x="69" y="21"/>
                  <a:pt x="69" y="22"/>
                  <a:pt x="69" y="22"/>
                </a:cubicBezTo>
                <a:cubicBezTo>
                  <a:pt x="69" y="22"/>
                  <a:pt x="69" y="23"/>
                  <a:pt x="69" y="23"/>
                </a:cubicBezTo>
                <a:cubicBezTo>
                  <a:pt x="69" y="23"/>
                  <a:pt x="69" y="23"/>
                  <a:pt x="69" y="23"/>
                </a:cubicBezTo>
                <a:cubicBezTo>
                  <a:pt x="69" y="23"/>
                  <a:pt x="69" y="24"/>
                  <a:pt x="69" y="24"/>
                </a:cubicBezTo>
                <a:cubicBezTo>
                  <a:pt x="70" y="24"/>
                  <a:pt x="70" y="24"/>
                  <a:pt x="70" y="24"/>
                </a:cubicBezTo>
                <a:cubicBezTo>
                  <a:pt x="69" y="25"/>
                  <a:pt x="67" y="29"/>
                  <a:pt x="65" y="31"/>
                </a:cubicBezTo>
                <a:cubicBezTo>
                  <a:pt x="62" y="33"/>
                  <a:pt x="62" y="35"/>
                  <a:pt x="62" y="37"/>
                </a:cubicBezTo>
                <a:cubicBezTo>
                  <a:pt x="62" y="37"/>
                  <a:pt x="62" y="37"/>
                  <a:pt x="62" y="37"/>
                </a:cubicBezTo>
                <a:cubicBezTo>
                  <a:pt x="62" y="37"/>
                  <a:pt x="61" y="37"/>
                  <a:pt x="61" y="37"/>
                </a:cubicBezTo>
                <a:cubicBezTo>
                  <a:pt x="61" y="37"/>
                  <a:pt x="61" y="37"/>
                  <a:pt x="61" y="37"/>
                </a:cubicBezTo>
                <a:cubicBezTo>
                  <a:pt x="61" y="37"/>
                  <a:pt x="60" y="37"/>
                  <a:pt x="60" y="38"/>
                </a:cubicBezTo>
                <a:cubicBezTo>
                  <a:pt x="60" y="38"/>
                  <a:pt x="59" y="38"/>
                  <a:pt x="59" y="38"/>
                </a:cubicBezTo>
                <a:cubicBezTo>
                  <a:pt x="59" y="39"/>
                  <a:pt x="59" y="39"/>
                  <a:pt x="59" y="39"/>
                </a:cubicBezTo>
                <a:cubicBezTo>
                  <a:pt x="58" y="38"/>
                  <a:pt x="56" y="38"/>
                  <a:pt x="55" y="39"/>
                </a:cubicBezTo>
                <a:cubicBezTo>
                  <a:pt x="55" y="38"/>
                  <a:pt x="55" y="38"/>
                  <a:pt x="55" y="38"/>
                </a:cubicBezTo>
                <a:cubicBezTo>
                  <a:pt x="55" y="38"/>
                  <a:pt x="54" y="38"/>
                  <a:pt x="54" y="38"/>
                </a:cubicBezTo>
                <a:cubicBezTo>
                  <a:pt x="54" y="37"/>
                  <a:pt x="53" y="37"/>
                  <a:pt x="53" y="37"/>
                </a:cubicBezTo>
                <a:cubicBezTo>
                  <a:pt x="53" y="37"/>
                  <a:pt x="53" y="37"/>
                  <a:pt x="53" y="37"/>
                </a:cubicBezTo>
                <a:cubicBezTo>
                  <a:pt x="53" y="37"/>
                  <a:pt x="52" y="37"/>
                  <a:pt x="52" y="37"/>
                </a:cubicBezTo>
                <a:cubicBezTo>
                  <a:pt x="52" y="37"/>
                  <a:pt x="52" y="37"/>
                  <a:pt x="52" y="37"/>
                </a:cubicBezTo>
                <a:cubicBezTo>
                  <a:pt x="52" y="35"/>
                  <a:pt x="52" y="33"/>
                  <a:pt x="49" y="31"/>
                </a:cubicBezTo>
                <a:cubicBezTo>
                  <a:pt x="47" y="29"/>
                  <a:pt x="45" y="25"/>
                  <a:pt x="44" y="24"/>
                </a:cubicBezTo>
                <a:close/>
                <a:moveTo>
                  <a:pt x="38" y="25"/>
                </a:moveTo>
                <a:cubicBezTo>
                  <a:pt x="38" y="25"/>
                  <a:pt x="38" y="25"/>
                  <a:pt x="38" y="25"/>
                </a:cubicBezTo>
                <a:cubicBezTo>
                  <a:pt x="38" y="25"/>
                  <a:pt x="39" y="25"/>
                  <a:pt x="39" y="25"/>
                </a:cubicBezTo>
                <a:cubicBezTo>
                  <a:pt x="40" y="26"/>
                  <a:pt x="40" y="26"/>
                  <a:pt x="40" y="26"/>
                </a:cubicBezTo>
                <a:cubicBezTo>
                  <a:pt x="40" y="26"/>
                  <a:pt x="40" y="26"/>
                  <a:pt x="40" y="26"/>
                </a:cubicBezTo>
                <a:cubicBezTo>
                  <a:pt x="40" y="26"/>
                  <a:pt x="41" y="26"/>
                  <a:pt x="41" y="26"/>
                </a:cubicBezTo>
                <a:cubicBezTo>
                  <a:pt x="41" y="26"/>
                  <a:pt x="41" y="26"/>
                  <a:pt x="41" y="26"/>
                </a:cubicBezTo>
                <a:cubicBezTo>
                  <a:pt x="42" y="27"/>
                  <a:pt x="44" y="30"/>
                  <a:pt x="45" y="33"/>
                </a:cubicBezTo>
                <a:cubicBezTo>
                  <a:pt x="46" y="37"/>
                  <a:pt x="47" y="38"/>
                  <a:pt x="49" y="39"/>
                </a:cubicBezTo>
                <a:cubicBezTo>
                  <a:pt x="49" y="39"/>
                  <a:pt x="49" y="39"/>
                  <a:pt x="49" y="39"/>
                </a:cubicBezTo>
                <a:cubicBezTo>
                  <a:pt x="48" y="39"/>
                  <a:pt x="48" y="39"/>
                  <a:pt x="48" y="40"/>
                </a:cubicBezTo>
                <a:cubicBezTo>
                  <a:pt x="48" y="40"/>
                  <a:pt x="48" y="40"/>
                  <a:pt x="48" y="40"/>
                </a:cubicBezTo>
                <a:cubicBezTo>
                  <a:pt x="48" y="40"/>
                  <a:pt x="48" y="40"/>
                  <a:pt x="48" y="41"/>
                </a:cubicBezTo>
                <a:cubicBezTo>
                  <a:pt x="48" y="41"/>
                  <a:pt x="48" y="42"/>
                  <a:pt x="48" y="42"/>
                </a:cubicBezTo>
                <a:cubicBezTo>
                  <a:pt x="48" y="43"/>
                  <a:pt x="48" y="43"/>
                  <a:pt x="48" y="43"/>
                </a:cubicBezTo>
                <a:cubicBezTo>
                  <a:pt x="48" y="43"/>
                  <a:pt x="47" y="44"/>
                  <a:pt x="47" y="46"/>
                </a:cubicBezTo>
                <a:cubicBezTo>
                  <a:pt x="46" y="46"/>
                  <a:pt x="46" y="46"/>
                  <a:pt x="46" y="46"/>
                </a:cubicBezTo>
                <a:cubicBezTo>
                  <a:pt x="46" y="46"/>
                  <a:pt x="45" y="46"/>
                  <a:pt x="45" y="46"/>
                </a:cubicBezTo>
                <a:cubicBezTo>
                  <a:pt x="45" y="46"/>
                  <a:pt x="45" y="47"/>
                  <a:pt x="44" y="47"/>
                </a:cubicBezTo>
                <a:cubicBezTo>
                  <a:pt x="44" y="47"/>
                  <a:pt x="44" y="47"/>
                  <a:pt x="44" y="47"/>
                </a:cubicBezTo>
                <a:cubicBezTo>
                  <a:pt x="44" y="47"/>
                  <a:pt x="44" y="47"/>
                  <a:pt x="44" y="48"/>
                </a:cubicBezTo>
                <a:cubicBezTo>
                  <a:pt x="44" y="48"/>
                  <a:pt x="44" y="48"/>
                  <a:pt x="44" y="48"/>
                </a:cubicBezTo>
                <a:cubicBezTo>
                  <a:pt x="42" y="46"/>
                  <a:pt x="40" y="46"/>
                  <a:pt x="37" y="47"/>
                </a:cubicBezTo>
                <a:cubicBezTo>
                  <a:pt x="34" y="48"/>
                  <a:pt x="30" y="48"/>
                  <a:pt x="29" y="48"/>
                </a:cubicBezTo>
                <a:cubicBezTo>
                  <a:pt x="29" y="48"/>
                  <a:pt x="29" y="48"/>
                  <a:pt x="29" y="48"/>
                </a:cubicBezTo>
                <a:cubicBezTo>
                  <a:pt x="29" y="47"/>
                  <a:pt x="29" y="47"/>
                  <a:pt x="28" y="47"/>
                </a:cubicBezTo>
                <a:cubicBezTo>
                  <a:pt x="28" y="47"/>
                  <a:pt x="28" y="47"/>
                  <a:pt x="28" y="47"/>
                </a:cubicBezTo>
                <a:cubicBezTo>
                  <a:pt x="28" y="47"/>
                  <a:pt x="28" y="46"/>
                  <a:pt x="27" y="46"/>
                </a:cubicBezTo>
                <a:cubicBezTo>
                  <a:pt x="27" y="46"/>
                  <a:pt x="27" y="46"/>
                  <a:pt x="26" y="46"/>
                </a:cubicBezTo>
                <a:cubicBezTo>
                  <a:pt x="26" y="46"/>
                  <a:pt x="26" y="46"/>
                  <a:pt x="26" y="46"/>
                </a:cubicBezTo>
                <a:cubicBezTo>
                  <a:pt x="27" y="37"/>
                  <a:pt x="31" y="30"/>
                  <a:pt x="38" y="25"/>
                </a:cubicBezTo>
                <a:close/>
                <a:moveTo>
                  <a:pt x="41" y="73"/>
                </a:moveTo>
                <a:cubicBezTo>
                  <a:pt x="41" y="73"/>
                  <a:pt x="40" y="73"/>
                  <a:pt x="40" y="73"/>
                </a:cubicBezTo>
                <a:cubicBezTo>
                  <a:pt x="40" y="73"/>
                  <a:pt x="40" y="73"/>
                  <a:pt x="40" y="73"/>
                </a:cubicBezTo>
                <a:cubicBezTo>
                  <a:pt x="40" y="73"/>
                  <a:pt x="40" y="73"/>
                  <a:pt x="39" y="74"/>
                </a:cubicBezTo>
                <a:cubicBezTo>
                  <a:pt x="39" y="74"/>
                  <a:pt x="38" y="74"/>
                  <a:pt x="38" y="74"/>
                </a:cubicBezTo>
                <a:cubicBezTo>
                  <a:pt x="38" y="74"/>
                  <a:pt x="38" y="74"/>
                  <a:pt x="38" y="74"/>
                </a:cubicBezTo>
                <a:cubicBezTo>
                  <a:pt x="35" y="72"/>
                  <a:pt x="32" y="69"/>
                  <a:pt x="30" y="65"/>
                </a:cubicBezTo>
                <a:cubicBezTo>
                  <a:pt x="28" y="61"/>
                  <a:pt x="27" y="57"/>
                  <a:pt x="26" y="53"/>
                </a:cubicBezTo>
                <a:cubicBezTo>
                  <a:pt x="26" y="53"/>
                  <a:pt x="26" y="53"/>
                  <a:pt x="26" y="53"/>
                </a:cubicBezTo>
                <a:cubicBezTo>
                  <a:pt x="27" y="53"/>
                  <a:pt x="27" y="53"/>
                  <a:pt x="27" y="53"/>
                </a:cubicBezTo>
                <a:cubicBezTo>
                  <a:pt x="28" y="53"/>
                  <a:pt x="28" y="52"/>
                  <a:pt x="28" y="52"/>
                </a:cubicBezTo>
                <a:cubicBezTo>
                  <a:pt x="28" y="52"/>
                  <a:pt x="28" y="52"/>
                  <a:pt x="28" y="52"/>
                </a:cubicBezTo>
                <a:cubicBezTo>
                  <a:pt x="29" y="52"/>
                  <a:pt x="29" y="52"/>
                  <a:pt x="29" y="51"/>
                </a:cubicBezTo>
                <a:cubicBezTo>
                  <a:pt x="29" y="51"/>
                  <a:pt x="29" y="51"/>
                  <a:pt x="29" y="51"/>
                </a:cubicBezTo>
                <a:cubicBezTo>
                  <a:pt x="30" y="51"/>
                  <a:pt x="34" y="51"/>
                  <a:pt x="37" y="52"/>
                </a:cubicBezTo>
                <a:cubicBezTo>
                  <a:pt x="40" y="53"/>
                  <a:pt x="42" y="53"/>
                  <a:pt x="44" y="51"/>
                </a:cubicBezTo>
                <a:cubicBezTo>
                  <a:pt x="44" y="51"/>
                  <a:pt x="44" y="51"/>
                  <a:pt x="44" y="51"/>
                </a:cubicBezTo>
                <a:cubicBezTo>
                  <a:pt x="44" y="52"/>
                  <a:pt x="44" y="52"/>
                  <a:pt x="44" y="52"/>
                </a:cubicBezTo>
                <a:cubicBezTo>
                  <a:pt x="44" y="52"/>
                  <a:pt x="44" y="52"/>
                  <a:pt x="44" y="52"/>
                </a:cubicBezTo>
                <a:cubicBezTo>
                  <a:pt x="45" y="52"/>
                  <a:pt x="45" y="53"/>
                  <a:pt x="45" y="53"/>
                </a:cubicBezTo>
                <a:cubicBezTo>
                  <a:pt x="45" y="53"/>
                  <a:pt x="46" y="53"/>
                  <a:pt x="46" y="53"/>
                </a:cubicBezTo>
                <a:cubicBezTo>
                  <a:pt x="47" y="53"/>
                  <a:pt x="47" y="53"/>
                  <a:pt x="47" y="53"/>
                </a:cubicBezTo>
                <a:cubicBezTo>
                  <a:pt x="47" y="54"/>
                  <a:pt x="47" y="54"/>
                  <a:pt x="47" y="55"/>
                </a:cubicBezTo>
                <a:cubicBezTo>
                  <a:pt x="48" y="55"/>
                  <a:pt x="48" y="56"/>
                  <a:pt x="48" y="56"/>
                </a:cubicBezTo>
                <a:cubicBezTo>
                  <a:pt x="48" y="57"/>
                  <a:pt x="48" y="57"/>
                  <a:pt x="48" y="57"/>
                </a:cubicBezTo>
                <a:cubicBezTo>
                  <a:pt x="48" y="57"/>
                  <a:pt x="48" y="58"/>
                  <a:pt x="48" y="58"/>
                </a:cubicBezTo>
                <a:cubicBezTo>
                  <a:pt x="48" y="58"/>
                  <a:pt x="48" y="59"/>
                  <a:pt x="48" y="59"/>
                </a:cubicBezTo>
                <a:cubicBezTo>
                  <a:pt x="48" y="59"/>
                  <a:pt x="48" y="59"/>
                  <a:pt x="48" y="59"/>
                </a:cubicBezTo>
                <a:cubicBezTo>
                  <a:pt x="48" y="59"/>
                  <a:pt x="48" y="60"/>
                  <a:pt x="49" y="60"/>
                </a:cubicBezTo>
                <a:cubicBezTo>
                  <a:pt x="49" y="60"/>
                  <a:pt x="49" y="60"/>
                  <a:pt x="49" y="60"/>
                </a:cubicBezTo>
                <a:cubicBezTo>
                  <a:pt x="47" y="61"/>
                  <a:pt x="46" y="62"/>
                  <a:pt x="45" y="66"/>
                </a:cubicBezTo>
                <a:cubicBezTo>
                  <a:pt x="44" y="69"/>
                  <a:pt x="42" y="72"/>
                  <a:pt x="41" y="73"/>
                </a:cubicBezTo>
                <a:close/>
                <a:moveTo>
                  <a:pt x="70" y="75"/>
                </a:moveTo>
                <a:cubicBezTo>
                  <a:pt x="69" y="75"/>
                  <a:pt x="69" y="75"/>
                  <a:pt x="69" y="75"/>
                </a:cubicBezTo>
                <a:cubicBezTo>
                  <a:pt x="69" y="75"/>
                  <a:pt x="69" y="76"/>
                  <a:pt x="69" y="76"/>
                </a:cubicBezTo>
                <a:cubicBezTo>
                  <a:pt x="69" y="76"/>
                  <a:pt x="69" y="76"/>
                  <a:pt x="69" y="76"/>
                </a:cubicBezTo>
                <a:cubicBezTo>
                  <a:pt x="69" y="76"/>
                  <a:pt x="69" y="76"/>
                  <a:pt x="69" y="77"/>
                </a:cubicBezTo>
                <a:cubicBezTo>
                  <a:pt x="69" y="77"/>
                  <a:pt x="69" y="78"/>
                  <a:pt x="69" y="78"/>
                </a:cubicBezTo>
                <a:cubicBezTo>
                  <a:pt x="69" y="78"/>
                  <a:pt x="69" y="78"/>
                  <a:pt x="69" y="78"/>
                </a:cubicBezTo>
                <a:cubicBezTo>
                  <a:pt x="61" y="82"/>
                  <a:pt x="53" y="81"/>
                  <a:pt x="45" y="78"/>
                </a:cubicBezTo>
                <a:cubicBezTo>
                  <a:pt x="45" y="78"/>
                  <a:pt x="45" y="78"/>
                  <a:pt x="45" y="78"/>
                </a:cubicBezTo>
                <a:cubicBezTo>
                  <a:pt x="45" y="78"/>
                  <a:pt x="45" y="77"/>
                  <a:pt x="45" y="77"/>
                </a:cubicBezTo>
                <a:cubicBezTo>
                  <a:pt x="45" y="76"/>
                  <a:pt x="45" y="76"/>
                  <a:pt x="45" y="76"/>
                </a:cubicBezTo>
                <a:cubicBezTo>
                  <a:pt x="45" y="76"/>
                  <a:pt x="45" y="76"/>
                  <a:pt x="45" y="76"/>
                </a:cubicBezTo>
                <a:cubicBezTo>
                  <a:pt x="45" y="76"/>
                  <a:pt x="45" y="75"/>
                  <a:pt x="45" y="75"/>
                </a:cubicBezTo>
                <a:cubicBezTo>
                  <a:pt x="44" y="75"/>
                  <a:pt x="44" y="75"/>
                  <a:pt x="44" y="75"/>
                </a:cubicBezTo>
                <a:cubicBezTo>
                  <a:pt x="45" y="74"/>
                  <a:pt x="47" y="70"/>
                  <a:pt x="49" y="68"/>
                </a:cubicBezTo>
                <a:cubicBezTo>
                  <a:pt x="52" y="66"/>
                  <a:pt x="52" y="64"/>
                  <a:pt x="52" y="62"/>
                </a:cubicBezTo>
                <a:cubicBezTo>
                  <a:pt x="52" y="62"/>
                  <a:pt x="52" y="62"/>
                  <a:pt x="52" y="62"/>
                </a:cubicBezTo>
                <a:cubicBezTo>
                  <a:pt x="52" y="62"/>
                  <a:pt x="53" y="62"/>
                  <a:pt x="53" y="62"/>
                </a:cubicBezTo>
                <a:cubicBezTo>
                  <a:pt x="53" y="62"/>
                  <a:pt x="53" y="62"/>
                  <a:pt x="53" y="62"/>
                </a:cubicBezTo>
                <a:cubicBezTo>
                  <a:pt x="53" y="62"/>
                  <a:pt x="54" y="62"/>
                  <a:pt x="54" y="61"/>
                </a:cubicBezTo>
                <a:cubicBezTo>
                  <a:pt x="54" y="61"/>
                  <a:pt x="55" y="61"/>
                  <a:pt x="55" y="61"/>
                </a:cubicBezTo>
                <a:cubicBezTo>
                  <a:pt x="55" y="60"/>
                  <a:pt x="55" y="60"/>
                  <a:pt x="55" y="60"/>
                </a:cubicBezTo>
                <a:cubicBezTo>
                  <a:pt x="56" y="61"/>
                  <a:pt x="58" y="61"/>
                  <a:pt x="59" y="60"/>
                </a:cubicBezTo>
                <a:cubicBezTo>
                  <a:pt x="59" y="61"/>
                  <a:pt x="59" y="61"/>
                  <a:pt x="59" y="61"/>
                </a:cubicBezTo>
                <a:cubicBezTo>
                  <a:pt x="59" y="61"/>
                  <a:pt x="60" y="61"/>
                  <a:pt x="60" y="61"/>
                </a:cubicBezTo>
                <a:cubicBezTo>
                  <a:pt x="60" y="62"/>
                  <a:pt x="61" y="62"/>
                  <a:pt x="61" y="62"/>
                </a:cubicBezTo>
                <a:cubicBezTo>
                  <a:pt x="61" y="62"/>
                  <a:pt x="61" y="62"/>
                  <a:pt x="61" y="62"/>
                </a:cubicBezTo>
                <a:cubicBezTo>
                  <a:pt x="61" y="62"/>
                  <a:pt x="62" y="62"/>
                  <a:pt x="62" y="62"/>
                </a:cubicBezTo>
                <a:cubicBezTo>
                  <a:pt x="62" y="62"/>
                  <a:pt x="62" y="62"/>
                  <a:pt x="62" y="62"/>
                </a:cubicBezTo>
                <a:cubicBezTo>
                  <a:pt x="62" y="64"/>
                  <a:pt x="62" y="66"/>
                  <a:pt x="65" y="68"/>
                </a:cubicBezTo>
                <a:cubicBezTo>
                  <a:pt x="67" y="70"/>
                  <a:pt x="69" y="74"/>
                  <a:pt x="70" y="75"/>
                </a:cubicBezTo>
                <a:close/>
                <a:moveTo>
                  <a:pt x="60" y="54"/>
                </a:moveTo>
                <a:cubicBezTo>
                  <a:pt x="57" y="55"/>
                  <a:pt x="54" y="55"/>
                  <a:pt x="52" y="52"/>
                </a:cubicBezTo>
                <a:cubicBezTo>
                  <a:pt x="51" y="50"/>
                  <a:pt x="52" y="46"/>
                  <a:pt x="54" y="45"/>
                </a:cubicBezTo>
                <a:cubicBezTo>
                  <a:pt x="57" y="43"/>
                  <a:pt x="60" y="44"/>
                  <a:pt x="62" y="47"/>
                </a:cubicBezTo>
                <a:cubicBezTo>
                  <a:pt x="63" y="49"/>
                  <a:pt x="62" y="53"/>
                  <a:pt x="60" y="54"/>
                </a:cubicBezTo>
                <a:close/>
                <a:moveTo>
                  <a:pt x="76" y="74"/>
                </a:moveTo>
                <a:cubicBezTo>
                  <a:pt x="76" y="74"/>
                  <a:pt x="76" y="74"/>
                  <a:pt x="76" y="74"/>
                </a:cubicBezTo>
                <a:cubicBezTo>
                  <a:pt x="76" y="74"/>
                  <a:pt x="75" y="74"/>
                  <a:pt x="75" y="74"/>
                </a:cubicBezTo>
                <a:cubicBezTo>
                  <a:pt x="74" y="73"/>
                  <a:pt x="74" y="73"/>
                  <a:pt x="74" y="73"/>
                </a:cubicBezTo>
                <a:cubicBezTo>
                  <a:pt x="74" y="73"/>
                  <a:pt x="74" y="73"/>
                  <a:pt x="74" y="73"/>
                </a:cubicBezTo>
                <a:cubicBezTo>
                  <a:pt x="74" y="73"/>
                  <a:pt x="73" y="73"/>
                  <a:pt x="73" y="73"/>
                </a:cubicBezTo>
                <a:cubicBezTo>
                  <a:pt x="73" y="73"/>
                  <a:pt x="73" y="73"/>
                  <a:pt x="73" y="73"/>
                </a:cubicBezTo>
                <a:cubicBezTo>
                  <a:pt x="72" y="72"/>
                  <a:pt x="70" y="69"/>
                  <a:pt x="69" y="66"/>
                </a:cubicBezTo>
                <a:cubicBezTo>
                  <a:pt x="69" y="62"/>
                  <a:pt x="67" y="61"/>
                  <a:pt x="65" y="60"/>
                </a:cubicBezTo>
                <a:cubicBezTo>
                  <a:pt x="65" y="60"/>
                  <a:pt x="65" y="60"/>
                  <a:pt x="65" y="60"/>
                </a:cubicBezTo>
                <a:cubicBezTo>
                  <a:pt x="66" y="60"/>
                  <a:pt x="66" y="59"/>
                  <a:pt x="66" y="59"/>
                </a:cubicBezTo>
                <a:cubicBezTo>
                  <a:pt x="66" y="59"/>
                  <a:pt x="66" y="59"/>
                  <a:pt x="66" y="59"/>
                </a:cubicBezTo>
                <a:cubicBezTo>
                  <a:pt x="66" y="59"/>
                  <a:pt x="66" y="58"/>
                  <a:pt x="66" y="58"/>
                </a:cubicBezTo>
                <a:cubicBezTo>
                  <a:pt x="66" y="58"/>
                  <a:pt x="66" y="57"/>
                  <a:pt x="66" y="57"/>
                </a:cubicBezTo>
                <a:cubicBezTo>
                  <a:pt x="66" y="56"/>
                  <a:pt x="66" y="56"/>
                  <a:pt x="66" y="56"/>
                </a:cubicBezTo>
                <a:cubicBezTo>
                  <a:pt x="66" y="56"/>
                  <a:pt x="67" y="54"/>
                  <a:pt x="67" y="53"/>
                </a:cubicBezTo>
                <a:cubicBezTo>
                  <a:pt x="68" y="53"/>
                  <a:pt x="68" y="53"/>
                  <a:pt x="68" y="53"/>
                </a:cubicBezTo>
                <a:cubicBezTo>
                  <a:pt x="68" y="53"/>
                  <a:pt x="69" y="53"/>
                  <a:pt x="69" y="53"/>
                </a:cubicBezTo>
                <a:cubicBezTo>
                  <a:pt x="69" y="53"/>
                  <a:pt x="70" y="52"/>
                  <a:pt x="70" y="52"/>
                </a:cubicBezTo>
                <a:cubicBezTo>
                  <a:pt x="70" y="52"/>
                  <a:pt x="70" y="52"/>
                  <a:pt x="70" y="52"/>
                </a:cubicBezTo>
                <a:cubicBezTo>
                  <a:pt x="70" y="52"/>
                  <a:pt x="70" y="52"/>
                  <a:pt x="70" y="51"/>
                </a:cubicBezTo>
                <a:cubicBezTo>
                  <a:pt x="70" y="51"/>
                  <a:pt x="70" y="51"/>
                  <a:pt x="70" y="51"/>
                </a:cubicBezTo>
                <a:cubicBezTo>
                  <a:pt x="72" y="53"/>
                  <a:pt x="74" y="53"/>
                  <a:pt x="78" y="52"/>
                </a:cubicBezTo>
                <a:cubicBezTo>
                  <a:pt x="80" y="51"/>
                  <a:pt x="84" y="51"/>
                  <a:pt x="85" y="51"/>
                </a:cubicBezTo>
                <a:cubicBezTo>
                  <a:pt x="85" y="51"/>
                  <a:pt x="85" y="51"/>
                  <a:pt x="85" y="51"/>
                </a:cubicBezTo>
                <a:cubicBezTo>
                  <a:pt x="85" y="52"/>
                  <a:pt x="86" y="52"/>
                  <a:pt x="86" y="52"/>
                </a:cubicBezTo>
                <a:cubicBezTo>
                  <a:pt x="86" y="52"/>
                  <a:pt x="86" y="52"/>
                  <a:pt x="86" y="52"/>
                </a:cubicBezTo>
                <a:cubicBezTo>
                  <a:pt x="86" y="52"/>
                  <a:pt x="86" y="53"/>
                  <a:pt x="87" y="53"/>
                </a:cubicBezTo>
                <a:cubicBezTo>
                  <a:pt x="87" y="53"/>
                  <a:pt x="87" y="53"/>
                  <a:pt x="88" y="53"/>
                </a:cubicBezTo>
                <a:cubicBezTo>
                  <a:pt x="88" y="53"/>
                  <a:pt x="88" y="53"/>
                  <a:pt x="88" y="53"/>
                </a:cubicBezTo>
                <a:cubicBezTo>
                  <a:pt x="87" y="62"/>
                  <a:pt x="83" y="69"/>
                  <a:pt x="76" y="74"/>
                </a:cubicBezTo>
                <a:close/>
                <a:moveTo>
                  <a:pt x="88" y="46"/>
                </a:moveTo>
                <a:cubicBezTo>
                  <a:pt x="88" y="46"/>
                  <a:pt x="88" y="46"/>
                  <a:pt x="88" y="46"/>
                </a:cubicBezTo>
                <a:cubicBezTo>
                  <a:pt x="87" y="46"/>
                  <a:pt x="87" y="46"/>
                  <a:pt x="87" y="46"/>
                </a:cubicBezTo>
                <a:cubicBezTo>
                  <a:pt x="86" y="46"/>
                  <a:pt x="86" y="47"/>
                  <a:pt x="86" y="47"/>
                </a:cubicBezTo>
                <a:cubicBezTo>
                  <a:pt x="86" y="47"/>
                  <a:pt x="86" y="47"/>
                  <a:pt x="86" y="47"/>
                </a:cubicBezTo>
                <a:cubicBezTo>
                  <a:pt x="86" y="47"/>
                  <a:pt x="85" y="47"/>
                  <a:pt x="85" y="48"/>
                </a:cubicBezTo>
                <a:cubicBezTo>
                  <a:pt x="85" y="48"/>
                  <a:pt x="85" y="48"/>
                  <a:pt x="85" y="48"/>
                </a:cubicBezTo>
                <a:cubicBezTo>
                  <a:pt x="84" y="48"/>
                  <a:pt x="80" y="48"/>
                  <a:pt x="78" y="47"/>
                </a:cubicBezTo>
                <a:cubicBezTo>
                  <a:pt x="74" y="46"/>
                  <a:pt x="72" y="46"/>
                  <a:pt x="70" y="48"/>
                </a:cubicBezTo>
                <a:cubicBezTo>
                  <a:pt x="70" y="48"/>
                  <a:pt x="70" y="48"/>
                  <a:pt x="70" y="48"/>
                </a:cubicBezTo>
                <a:cubicBezTo>
                  <a:pt x="70" y="47"/>
                  <a:pt x="70" y="47"/>
                  <a:pt x="70" y="47"/>
                </a:cubicBezTo>
                <a:cubicBezTo>
                  <a:pt x="70" y="47"/>
                  <a:pt x="70" y="47"/>
                  <a:pt x="70" y="47"/>
                </a:cubicBezTo>
                <a:cubicBezTo>
                  <a:pt x="70" y="47"/>
                  <a:pt x="69" y="46"/>
                  <a:pt x="69" y="46"/>
                </a:cubicBezTo>
                <a:cubicBezTo>
                  <a:pt x="69" y="46"/>
                  <a:pt x="68" y="46"/>
                  <a:pt x="68" y="46"/>
                </a:cubicBezTo>
                <a:cubicBezTo>
                  <a:pt x="67" y="46"/>
                  <a:pt x="67" y="46"/>
                  <a:pt x="67" y="46"/>
                </a:cubicBezTo>
                <a:cubicBezTo>
                  <a:pt x="67" y="45"/>
                  <a:pt x="67" y="44"/>
                  <a:pt x="67" y="44"/>
                </a:cubicBezTo>
                <a:cubicBezTo>
                  <a:pt x="66" y="43"/>
                  <a:pt x="66" y="43"/>
                  <a:pt x="66" y="43"/>
                </a:cubicBezTo>
                <a:cubicBezTo>
                  <a:pt x="66" y="42"/>
                  <a:pt x="66" y="42"/>
                  <a:pt x="66" y="42"/>
                </a:cubicBezTo>
                <a:cubicBezTo>
                  <a:pt x="66" y="42"/>
                  <a:pt x="66" y="41"/>
                  <a:pt x="66" y="41"/>
                </a:cubicBezTo>
                <a:cubicBezTo>
                  <a:pt x="66" y="40"/>
                  <a:pt x="66" y="40"/>
                  <a:pt x="66" y="40"/>
                </a:cubicBezTo>
                <a:cubicBezTo>
                  <a:pt x="66" y="40"/>
                  <a:pt x="66" y="40"/>
                  <a:pt x="66" y="40"/>
                </a:cubicBezTo>
                <a:cubicBezTo>
                  <a:pt x="66" y="39"/>
                  <a:pt x="66" y="39"/>
                  <a:pt x="65" y="39"/>
                </a:cubicBezTo>
                <a:cubicBezTo>
                  <a:pt x="65" y="39"/>
                  <a:pt x="65" y="39"/>
                  <a:pt x="65" y="39"/>
                </a:cubicBezTo>
                <a:cubicBezTo>
                  <a:pt x="67" y="38"/>
                  <a:pt x="69" y="37"/>
                  <a:pt x="69" y="33"/>
                </a:cubicBezTo>
                <a:cubicBezTo>
                  <a:pt x="70" y="30"/>
                  <a:pt x="72" y="27"/>
                  <a:pt x="73" y="26"/>
                </a:cubicBezTo>
                <a:cubicBezTo>
                  <a:pt x="73" y="26"/>
                  <a:pt x="73" y="26"/>
                  <a:pt x="73" y="26"/>
                </a:cubicBezTo>
                <a:cubicBezTo>
                  <a:pt x="73" y="26"/>
                  <a:pt x="74" y="26"/>
                  <a:pt x="74" y="26"/>
                </a:cubicBezTo>
                <a:cubicBezTo>
                  <a:pt x="74" y="26"/>
                  <a:pt x="74" y="26"/>
                  <a:pt x="74" y="26"/>
                </a:cubicBezTo>
                <a:cubicBezTo>
                  <a:pt x="74" y="26"/>
                  <a:pt x="74" y="26"/>
                  <a:pt x="75" y="25"/>
                </a:cubicBezTo>
                <a:cubicBezTo>
                  <a:pt x="75" y="25"/>
                  <a:pt x="76" y="25"/>
                  <a:pt x="76" y="25"/>
                </a:cubicBezTo>
                <a:cubicBezTo>
                  <a:pt x="76" y="25"/>
                  <a:pt x="76" y="25"/>
                  <a:pt x="76" y="25"/>
                </a:cubicBezTo>
                <a:cubicBezTo>
                  <a:pt x="79" y="27"/>
                  <a:pt x="82" y="30"/>
                  <a:pt x="84" y="34"/>
                </a:cubicBezTo>
                <a:cubicBezTo>
                  <a:pt x="86" y="38"/>
                  <a:pt x="88" y="42"/>
                  <a:pt x="88" y="46"/>
                </a:cubicBezTo>
                <a:close/>
                <a:moveTo>
                  <a:pt x="55" y="46"/>
                </a:moveTo>
                <a:cubicBezTo>
                  <a:pt x="53" y="47"/>
                  <a:pt x="52" y="50"/>
                  <a:pt x="53" y="52"/>
                </a:cubicBezTo>
                <a:cubicBezTo>
                  <a:pt x="55" y="54"/>
                  <a:pt x="57" y="54"/>
                  <a:pt x="59" y="53"/>
                </a:cubicBezTo>
                <a:cubicBezTo>
                  <a:pt x="61" y="52"/>
                  <a:pt x="62" y="49"/>
                  <a:pt x="61" y="47"/>
                </a:cubicBezTo>
                <a:cubicBezTo>
                  <a:pt x="60" y="45"/>
                  <a:pt x="57" y="45"/>
                  <a:pt x="55" y="4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17"/>
          <p:cNvSpPr>
            <a:spLocks noChangeAspect="1" noEditPoints="1"/>
          </p:cNvSpPr>
          <p:nvPr/>
        </p:nvSpPr>
        <p:spPr bwMode="gray">
          <a:xfrm>
            <a:off x="6561681" y="4221854"/>
            <a:ext cx="456439" cy="406342"/>
          </a:xfrm>
          <a:custGeom>
            <a:avLst/>
            <a:gdLst/>
            <a:ahLst/>
            <a:cxnLst>
              <a:cxn ang="0">
                <a:pos x="40" y="55"/>
              </a:cxn>
              <a:cxn ang="0">
                <a:pos x="32" y="63"/>
              </a:cxn>
              <a:cxn ang="0">
                <a:pos x="40" y="71"/>
              </a:cxn>
              <a:cxn ang="0">
                <a:pos x="48" y="63"/>
              </a:cxn>
              <a:cxn ang="0">
                <a:pos x="40" y="55"/>
              </a:cxn>
              <a:cxn ang="0">
                <a:pos x="23" y="46"/>
              </a:cxn>
              <a:cxn ang="0">
                <a:pos x="29" y="51"/>
              </a:cxn>
              <a:cxn ang="0">
                <a:pos x="51" y="51"/>
              </a:cxn>
              <a:cxn ang="0">
                <a:pos x="57" y="46"/>
              </a:cxn>
              <a:cxn ang="0">
                <a:pos x="23" y="46"/>
              </a:cxn>
              <a:cxn ang="0">
                <a:pos x="11" y="34"/>
              </a:cxn>
              <a:cxn ang="0">
                <a:pos x="17" y="40"/>
              </a:cxn>
              <a:cxn ang="0">
                <a:pos x="63" y="40"/>
              </a:cxn>
              <a:cxn ang="0">
                <a:pos x="69" y="34"/>
              </a:cxn>
              <a:cxn ang="0">
                <a:pos x="11" y="34"/>
              </a:cxn>
              <a:cxn ang="0">
                <a:pos x="0" y="22"/>
              </a:cxn>
              <a:cxn ang="0">
                <a:pos x="6" y="28"/>
              </a:cxn>
              <a:cxn ang="0">
                <a:pos x="74" y="28"/>
              </a:cxn>
              <a:cxn ang="0">
                <a:pos x="80" y="22"/>
              </a:cxn>
              <a:cxn ang="0">
                <a:pos x="0" y="22"/>
              </a:cxn>
            </a:cxnLst>
            <a:rect l="0" t="0" r="r" b="b"/>
            <a:pathLst>
              <a:path w="80" h="71">
                <a:moveTo>
                  <a:pt x="40" y="55"/>
                </a:moveTo>
                <a:cubicBezTo>
                  <a:pt x="35" y="55"/>
                  <a:pt x="32" y="58"/>
                  <a:pt x="32" y="63"/>
                </a:cubicBezTo>
                <a:cubicBezTo>
                  <a:pt x="32" y="67"/>
                  <a:pt x="35" y="71"/>
                  <a:pt x="40" y="71"/>
                </a:cubicBezTo>
                <a:cubicBezTo>
                  <a:pt x="44" y="71"/>
                  <a:pt x="48" y="67"/>
                  <a:pt x="48" y="63"/>
                </a:cubicBezTo>
                <a:cubicBezTo>
                  <a:pt x="48" y="58"/>
                  <a:pt x="44" y="55"/>
                  <a:pt x="40" y="55"/>
                </a:cubicBezTo>
                <a:close/>
                <a:moveTo>
                  <a:pt x="23" y="46"/>
                </a:moveTo>
                <a:cubicBezTo>
                  <a:pt x="29" y="51"/>
                  <a:pt x="29" y="51"/>
                  <a:pt x="29" y="51"/>
                </a:cubicBezTo>
                <a:cubicBezTo>
                  <a:pt x="35" y="45"/>
                  <a:pt x="45" y="45"/>
                  <a:pt x="51" y="51"/>
                </a:cubicBezTo>
                <a:cubicBezTo>
                  <a:pt x="57" y="46"/>
                  <a:pt x="57" y="46"/>
                  <a:pt x="57" y="46"/>
                </a:cubicBezTo>
                <a:cubicBezTo>
                  <a:pt x="48" y="36"/>
                  <a:pt x="32" y="36"/>
                  <a:pt x="23" y="46"/>
                </a:cubicBezTo>
                <a:close/>
                <a:moveTo>
                  <a:pt x="11" y="34"/>
                </a:moveTo>
                <a:cubicBezTo>
                  <a:pt x="17" y="40"/>
                  <a:pt x="17" y="40"/>
                  <a:pt x="17" y="40"/>
                </a:cubicBezTo>
                <a:cubicBezTo>
                  <a:pt x="30" y="27"/>
                  <a:pt x="50" y="27"/>
                  <a:pt x="63" y="40"/>
                </a:cubicBezTo>
                <a:cubicBezTo>
                  <a:pt x="69" y="34"/>
                  <a:pt x="69" y="34"/>
                  <a:pt x="69" y="34"/>
                </a:cubicBezTo>
                <a:cubicBezTo>
                  <a:pt x="53" y="18"/>
                  <a:pt x="27" y="18"/>
                  <a:pt x="11" y="34"/>
                </a:cubicBezTo>
                <a:close/>
                <a:moveTo>
                  <a:pt x="0" y="22"/>
                </a:moveTo>
                <a:cubicBezTo>
                  <a:pt x="6" y="28"/>
                  <a:pt x="6" y="28"/>
                  <a:pt x="6" y="28"/>
                </a:cubicBezTo>
                <a:cubicBezTo>
                  <a:pt x="25" y="9"/>
                  <a:pt x="55" y="9"/>
                  <a:pt x="74" y="28"/>
                </a:cubicBezTo>
                <a:cubicBezTo>
                  <a:pt x="80" y="22"/>
                  <a:pt x="80" y="22"/>
                  <a:pt x="80" y="22"/>
                </a:cubicBezTo>
                <a:cubicBezTo>
                  <a:pt x="58" y="0"/>
                  <a:pt x="22" y="0"/>
                  <a:pt x="0" y="2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ooter Placeholder 4"/>
          <p:cNvSpPr>
            <a:spLocks noGrp="1"/>
          </p:cNvSpPr>
          <p:nvPr>
            <p:ph type="ftr" sz="quarter" idx="16"/>
          </p:nvPr>
        </p:nvSpPr>
        <p:spPr>
          <a:xfrm>
            <a:off x="791358" y="6641002"/>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0" name="Slide Number Placeholder 5"/>
          <p:cNvSpPr>
            <a:spLocks noGrp="1"/>
          </p:cNvSpPr>
          <p:nvPr>
            <p:ph type="sldNum" sz="quarter" idx="17"/>
          </p:nvPr>
        </p:nvSpPr>
        <p:spPr>
          <a:xfrm>
            <a:off x="511175" y="6594835"/>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6</a:t>
            </a:fld>
            <a:endParaRPr lang="en-US" sz="1400" b="1" dirty="0">
              <a:solidFill>
                <a:schemeClr val="accent3"/>
              </a:solidFill>
              <a:latin typeface="Calibri" panose="020F0502020204030204" pitchFamily="34" charset="0"/>
            </a:endParaRPr>
          </a:p>
        </p:txBody>
      </p:sp>
    </p:spTree>
    <p:extLst>
      <p:ext uri="{BB962C8B-B14F-4D97-AF65-F5344CB8AC3E}">
        <p14:creationId xmlns:p14="http://schemas.microsoft.com/office/powerpoint/2010/main" val="1314371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Client story - Amsterdam</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Footer Placeholder 4"/>
          <p:cNvSpPr>
            <a:spLocks noGrp="1"/>
          </p:cNvSpPr>
          <p:nvPr>
            <p:ph type="ftr" sz="quarter" idx="16"/>
          </p:nvPr>
        </p:nvSpPr>
        <p:spPr>
          <a:xfrm>
            <a:off x="791358" y="6641002"/>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8" name="Slide Number Placeholder 5"/>
          <p:cNvSpPr>
            <a:spLocks noGrp="1"/>
          </p:cNvSpPr>
          <p:nvPr>
            <p:ph type="sldNum" sz="quarter" idx="17"/>
          </p:nvPr>
        </p:nvSpPr>
        <p:spPr>
          <a:xfrm>
            <a:off x="511175" y="6594835"/>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7</a:t>
            </a:fld>
            <a:endParaRPr lang="en-US" sz="1400" b="1" dirty="0">
              <a:solidFill>
                <a:schemeClr val="accent3"/>
              </a:solidFill>
              <a:latin typeface="Calibri" panose="020F0502020204030204" pitchFamily="34" charset="0"/>
            </a:endParaRPr>
          </a:p>
        </p:txBody>
      </p:sp>
      <p:pic>
        <p:nvPicPr>
          <p:cNvPr id="6" name="Picture 5"/>
          <p:cNvPicPr>
            <a:picLocks noChangeAspect="1"/>
          </p:cNvPicPr>
          <p:nvPr/>
        </p:nvPicPr>
        <p:blipFill>
          <a:blip r:embed="rId3"/>
          <a:stretch>
            <a:fillRect/>
          </a:stretch>
        </p:blipFill>
        <p:spPr>
          <a:xfrm>
            <a:off x="6196384" y="976096"/>
            <a:ext cx="2224800" cy="2354800"/>
          </a:xfrm>
          <a:prstGeom prst="rect">
            <a:avLst/>
          </a:prstGeom>
        </p:spPr>
      </p:pic>
      <p:sp>
        <p:nvSpPr>
          <p:cNvPr id="94" name="Text Placeholder 1"/>
          <p:cNvSpPr>
            <a:spLocks noGrp="1"/>
          </p:cNvSpPr>
          <p:nvPr>
            <p:ph type="body" idx="1"/>
          </p:nvPr>
        </p:nvSpPr>
        <p:spPr>
          <a:xfrm>
            <a:off x="8421183" y="1413733"/>
            <a:ext cx="3258911" cy="2248484"/>
          </a:xfrm>
        </p:spPr>
        <p:txBody>
          <a:bodyPr/>
          <a:lstStyle/>
          <a:p>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The city of Amsterdam is capitalizing on smart city initiatives through forward-looking planning, adoption of a strategic plan, and the creation of a city innovation accelerator.  This resembles a top down approach to smart city development</a:t>
            </a:r>
            <a:r>
              <a:rPr lang="sr-Latn-C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endParaRPr>
          </a:p>
          <a:p>
            <a:r>
              <a:rPr lang="en-US" dirty="0" smtClean="0"/>
              <a:t> </a:t>
            </a:r>
            <a:endParaRPr lang="en-US" sz="1600" dirty="0">
              <a:solidFill>
                <a:srgbClr val="0070C0"/>
              </a:solidFill>
            </a:endParaRPr>
          </a:p>
        </p:txBody>
      </p:sp>
      <p:sp>
        <p:nvSpPr>
          <p:cNvPr id="95" name="Text Placeholder 1"/>
          <p:cNvSpPr txBox="1">
            <a:spLocks/>
          </p:cNvSpPr>
          <p:nvPr/>
        </p:nvSpPr>
        <p:spPr>
          <a:xfrm>
            <a:off x="8421184" y="4260940"/>
            <a:ext cx="3258911" cy="1192865"/>
          </a:xfrm>
          <a:prstGeom prst="rect">
            <a:avLst/>
          </a:prstGeom>
          <a:noFill/>
        </p:spPr>
        <p:txBody>
          <a:bodyPr vert="horz" lIns="0" tIns="0" rIns="0" bIns="0" rtlCol="0" anchor="t">
            <a:noAutofit/>
          </a:bodyPr>
          <a:lstStyle>
            <a:lvl1pPr marL="0" marR="0" indent="0" algn="l" defTabSz="1005108" rtl="0" eaLnBrk="1" fontAlgn="auto" latinLnBrk="0" hangingPunct="1">
              <a:lnSpc>
                <a:spcPct val="100000"/>
              </a:lnSpc>
              <a:spcBef>
                <a:spcPts val="0"/>
              </a:spcBef>
              <a:spcAft>
                <a:spcPts val="0"/>
              </a:spcAft>
              <a:buClr>
                <a:schemeClr val="tx2"/>
              </a:buClr>
              <a:buSzTx/>
              <a:buFontTx/>
              <a:buNone/>
              <a:tabLst/>
              <a:defRPr lang="de-DE" sz="2000" b="0" kern="1200" dirty="0" smtClean="0">
                <a:solidFill>
                  <a:schemeClr val="accent5"/>
                </a:solidFill>
                <a:latin typeface="+mn-lt"/>
                <a:ea typeface="+mn-ea"/>
                <a:cs typeface="+mn-cs"/>
              </a:defRPr>
            </a:lvl1pPr>
            <a:lvl2pPr marL="457212" indent="0" algn="l" defTabSz="914423" rtl="0" eaLnBrk="1" latinLnBrk="0" hangingPunct="1">
              <a:spcBef>
                <a:spcPts val="600"/>
              </a:spcBef>
              <a:buClr>
                <a:schemeClr val="tx2"/>
              </a:buClr>
              <a:buFont typeface="Arial" panose="020B0604020202020204" pitchFamily="34" charset="0"/>
              <a:buNone/>
              <a:defRPr sz="2000" b="1" kern="1200">
                <a:solidFill>
                  <a:schemeClr val="accent3"/>
                </a:solidFill>
                <a:latin typeface="+mn-lt"/>
                <a:ea typeface="+mn-ea"/>
                <a:cs typeface="+mn-cs"/>
              </a:defRPr>
            </a:lvl2pPr>
            <a:lvl3pPr marL="914423" indent="0" algn="l" defTabSz="914423" rtl="0" eaLnBrk="1" latinLnBrk="0" hangingPunct="1">
              <a:spcBef>
                <a:spcPts val="600"/>
              </a:spcBef>
              <a:buClrTx/>
              <a:buFont typeface="Arial" panose="020B0604020202020204" pitchFamily="34" charset="0"/>
              <a:buNone/>
              <a:defRPr sz="1800" b="1" kern="1200" baseline="0">
                <a:solidFill>
                  <a:schemeClr val="tx2"/>
                </a:solidFill>
                <a:latin typeface="+mn-lt"/>
                <a:ea typeface="+mn-ea"/>
                <a:cs typeface="+mn-cs"/>
              </a:defRPr>
            </a:lvl3pPr>
            <a:lvl4pPr marL="1371634" indent="0" algn="l" defTabSz="914423" rtl="0" eaLnBrk="1" latinLnBrk="0" hangingPunct="1">
              <a:spcBef>
                <a:spcPts val="600"/>
              </a:spcBef>
              <a:buClrTx/>
              <a:buFont typeface="Arial" panose="020B0604020202020204" pitchFamily="34" charset="0"/>
              <a:buNone/>
              <a:defRPr lang="de-DE" sz="1600" b="1" kern="1200">
                <a:solidFill>
                  <a:schemeClr val="tx2"/>
                </a:solidFill>
                <a:latin typeface="+mn-lt"/>
                <a:ea typeface="+mn-ea"/>
                <a:cs typeface="+mn-cs"/>
              </a:defRPr>
            </a:lvl4pPr>
            <a:lvl5pPr marL="1828846" indent="0" algn="l" defTabSz="914423" rtl="0" eaLnBrk="1" latinLnBrk="0" hangingPunct="1">
              <a:spcBef>
                <a:spcPts val="600"/>
              </a:spcBef>
              <a:buClrTx/>
              <a:buFont typeface="Arial" panose="020B0604020202020204" pitchFamily="34" charset="0"/>
              <a:buNone/>
              <a:defRPr sz="1600" b="1" kern="1200">
                <a:solidFill>
                  <a:schemeClr val="tx2"/>
                </a:solidFill>
                <a:latin typeface="+mn-lt"/>
                <a:ea typeface="+mn-ea"/>
                <a:cs typeface="+mn-cs"/>
              </a:defRPr>
            </a:lvl5pPr>
            <a:lvl6pPr marL="2286057"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69"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7pPr>
            <a:lvl8pPr marL="3200480"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91" indent="0" algn="l" defTabSz="914423" rtl="0" eaLnBrk="1" latinLnBrk="0" hangingPunct="1">
              <a:spcBef>
                <a:spcPts val="600"/>
              </a:spcBef>
              <a:buClrTx/>
              <a:buFont typeface="Arial" panose="020B0604020202020204" pitchFamily="34" charset="0"/>
              <a:buNone/>
              <a:defRPr sz="1600" b="1" kern="1200" baseline="0">
                <a:solidFill>
                  <a:schemeClr val="tx1"/>
                </a:solidFill>
                <a:latin typeface="+mn-lt"/>
                <a:ea typeface="+mn-ea"/>
                <a:cs typeface="+mn-cs"/>
              </a:defRPr>
            </a:lvl9pPr>
          </a:lstStyle>
          <a:p>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Amsterdam’s smart city recorded </a:t>
            </a:r>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9-14% savings on energy bills</a:t>
            </a:r>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 with projected </a:t>
            </a:r>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40% reduction in carbon emissions</a:t>
            </a:r>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 by 2025.</a:t>
            </a:r>
          </a:p>
          <a:p>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 </a:t>
            </a:r>
          </a:p>
        </p:txBody>
      </p:sp>
      <p:grpSp>
        <p:nvGrpSpPr>
          <p:cNvPr id="2" name="Group 4"/>
          <p:cNvGrpSpPr>
            <a:grpSpLocks noChangeAspect="1"/>
          </p:cNvGrpSpPr>
          <p:nvPr/>
        </p:nvGrpSpPr>
        <p:grpSpPr bwMode="auto">
          <a:xfrm>
            <a:off x="511175" y="976313"/>
            <a:ext cx="5283200" cy="3740150"/>
            <a:chOff x="322" y="615"/>
            <a:chExt cx="3328" cy="2356"/>
          </a:xfrm>
        </p:grpSpPr>
        <p:sp>
          <p:nvSpPr>
            <p:cNvPr id="3" name="AutoShape 3"/>
            <p:cNvSpPr>
              <a:spLocks noChangeAspect="1" noChangeArrowheads="1" noTextEdit="1"/>
            </p:cNvSpPr>
            <p:nvPr/>
          </p:nvSpPr>
          <p:spPr bwMode="auto">
            <a:xfrm>
              <a:off x="322" y="615"/>
              <a:ext cx="3328" cy="2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614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 y="615"/>
              <a:ext cx="3331" cy="2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8"/>
          <p:cNvGrpSpPr>
            <a:grpSpLocks noChangeAspect="1"/>
          </p:cNvGrpSpPr>
          <p:nvPr/>
        </p:nvGrpSpPr>
        <p:grpSpPr bwMode="auto">
          <a:xfrm>
            <a:off x="4978148" y="5048001"/>
            <a:ext cx="3013075" cy="642937"/>
            <a:chOff x="3164" y="3233"/>
            <a:chExt cx="1898" cy="405"/>
          </a:xfrm>
        </p:grpSpPr>
        <p:sp>
          <p:nvSpPr>
            <p:cNvPr id="10" name="AutoShape 7"/>
            <p:cNvSpPr>
              <a:spLocks noChangeAspect="1" noChangeArrowheads="1" noTextEdit="1"/>
            </p:cNvSpPr>
            <p:nvPr/>
          </p:nvSpPr>
          <p:spPr bwMode="auto">
            <a:xfrm>
              <a:off x="3164" y="3233"/>
              <a:ext cx="1898"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615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64" y="3233"/>
              <a:ext cx="1902" cy="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2"/>
          <p:cNvGrpSpPr>
            <a:grpSpLocks noChangeAspect="1"/>
          </p:cNvGrpSpPr>
          <p:nvPr/>
        </p:nvGrpSpPr>
        <p:grpSpPr bwMode="auto">
          <a:xfrm>
            <a:off x="938213" y="4914900"/>
            <a:ext cx="3616325" cy="1263650"/>
            <a:chOff x="591" y="3096"/>
            <a:chExt cx="2278" cy="796"/>
          </a:xfrm>
        </p:grpSpPr>
        <p:sp>
          <p:nvSpPr>
            <p:cNvPr id="12" name="AutoShape 11"/>
            <p:cNvSpPr>
              <a:spLocks noChangeAspect="1" noChangeArrowheads="1" noTextEdit="1"/>
            </p:cNvSpPr>
            <p:nvPr/>
          </p:nvSpPr>
          <p:spPr bwMode="auto">
            <a:xfrm>
              <a:off x="591" y="3096"/>
              <a:ext cx="2278" cy="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6157"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1" y="3096"/>
              <a:ext cx="2282" cy="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040168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Client story – Buenos Aires</a:t>
            </a:r>
            <a:endParaRPr lang="en-US"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67" name="Footer Placeholder 4"/>
          <p:cNvSpPr>
            <a:spLocks noGrp="1"/>
          </p:cNvSpPr>
          <p:nvPr>
            <p:ph type="ftr" sz="quarter" idx="16"/>
          </p:nvPr>
        </p:nvSpPr>
        <p:spPr>
          <a:xfrm>
            <a:off x="791358" y="6641002"/>
            <a:ext cx="2333972" cy="123111"/>
          </a:xfrm>
        </p:spPr>
        <p:txBody>
          <a:bodyPr/>
          <a:lstStyle/>
          <a:p>
            <a:r>
              <a:rPr lang="en-US" sz="800" dirty="0" smtClean="0">
                <a:solidFill>
                  <a:schemeClr val="tx1">
                    <a:lumMod val="50000"/>
                    <a:lumOff val="50000"/>
                  </a:schemeClr>
                </a:solidFill>
                <a:latin typeface="Frutiger Next Pro Light"/>
              </a:rPr>
              <a:t>Smart Cities – A Deloitte Point of View, Version 1.0</a:t>
            </a:r>
            <a:endParaRPr lang="en-US" sz="800" dirty="0">
              <a:solidFill>
                <a:schemeClr val="tx1">
                  <a:lumMod val="50000"/>
                  <a:lumOff val="50000"/>
                </a:schemeClr>
              </a:solidFill>
              <a:latin typeface="Frutiger Next Pro Light"/>
            </a:endParaRPr>
          </a:p>
        </p:txBody>
      </p:sp>
      <p:sp>
        <p:nvSpPr>
          <p:cNvPr id="68" name="Slide Number Placeholder 5"/>
          <p:cNvSpPr>
            <a:spLocks noGrp="1"/>
          </p:cNvSpPr>
          <p:nvPr>
            <p:ph type="sldNum" sz="quarter" idx="17"/>
          </p:nvPr>
        </p:nvSpPr>
        <p:spPr>
          <a:xfrm>
            <a:off x="511175" y="6594835"/>
            <a:ext cx="136866" cy="215444"/>
          </a:xfrm>
        </p:spPr>
        <p:txBody>
          <a:bodyPr/>
          <a:lstStyle/>
          <a:p>
            <a:pPr algn="l"/>
            <a:fld id="{E7E69083-84D8-4E59-86E6-37E14A15C756}" type="slidenum">
              <a:rPr lang="en-US" sz="1400" b="1" smtClean="0">
                <a:solidFill>
                  <a:schemeClr val="accent3"/>
                </a:solidFill>
                <a:latin typeface="Calibri" panose="020F0502020204030204" pitchFamily="34" charset="0"/>
              </a:rPr>
              <a:pPr algn="l"/>
              <a:t>8</a:t>
            </a:fld>
            <a:endParaRPr lang="en-US" sz="1400" b="1" dirty="0">
              <a:solidFill>
                <a:schemeClr val="accent3"/>
              </a:solidFill>
              <a:latin typeface="Calibri" panose="020F0502020204030204" pitchFamily="34" charset="0"/>
            </a:endParaRPr>
          </a:p>
        </p:txBody>
      </p:sp>
      <p:sp>
        <p:nvSpPr>
          <p:cNvPr id="94" name="Text Placeholder 1"/>
          <p:cNvSpPr>
            <a:spLocks noGrp="1"/>
          </p:cNvSpPr>
          <p:nvPr>
            <p:ph type="body" idx="1"/>
          </p:nvPr>
        </p:nvSpPr>
        <p:spPr>
          <a:xfrm>
            <a:off x="8181040" y="864974"/>
            <a:ext cx="3613796" cy="2757792"/>
          </a:xfrm>
        </p:spPr>
        <p:txBody>
          <a:bodyPr/>
          <a:lstStyle/>
          <a:p>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The </a:t>
            </a:r>
            <a:r>
              <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rPr>
              <a:t>city of Buenos Aires implemented a technology solution, which involved a new user journey, to better manage 27,000 paved blocks, 56,000 sidewalks, 1,000 green spaces, and more than 1 million physical objects such street lights.  The phased approach represents a more bottom-up </a:t>
            </a:r>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pproach</a:t>
            </a:r>
            <a:r>
              <a:rPr lang="sr-Latn-C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a:t>
            </a:r>
            <a:endPar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r>
              <a:rPr lang="en-US" sz="1600" dirty="0">
                <a:solidFill>
                  <a:srgbClr val="0070C0"/>
                </a:solidFill>
              </a:rPr>
              <a:t> </a:t>
            </a:r>
          </a:p>
        </p:txBody>
      </p:sp>
      <p:sp>
        <p:nvSpPr>
          <p:cNvPr id="95" name="Text Placeholder 1"/>
          <p:cNvSpPr txBox="1">
            <a:spLocks/>
          </p:cNvSpPr>
          <p:nvPr/>
        </p:nvSpPr>
        <p:spPr>
          <a:xfrm>
            <a:off x="8181040" y="3846922"/>
            <a:ext cx="3613796" cy="2149066"/>
          </a:xfrm>
          <a:prstGeom prst="rect">
            <a:avLst/>
          </a:prstGeom>
          <a:noFill/>
        </p:spPr>
        <p:txBody>
          <a:bodyPr vert="horz" lIns="0" tIns="0" rIns="0" bIns="0" rtlCol="0" anchor="t">
            <a:noAutofit/>
          </a:bodyPr>
          <a:lstStyle>
            <a:lvl1pPr marL="0" marR="0" indent="0" algn="l" defTabSz="1005108" rtl="0" eaLnBrk="1" fontAlgn="auto" latinLnBrk="0" hangingPunct="1">
              <a:lnSpc>
                <a:spcPct val="100000"/>
              </a:lnSpc>
              <a:spcBef>
                <a:spcPts val="0"/>
              </a:spcBef>
              <a:spcAft>
                <a:spcPts val="0"/>
              </a:spcAft>
              <a:buClr>
                <a:schemeClr val="tx2"/>
              </a:buClr>
              <a:buSzTx/>
              <a:buFontTx/>
              <a:buNone/>
              <a:tabLst/>
              <a:defRPr lang="de-DE" sz="2000" b="0" kern="1200" dirty="0" smtClean="0">
                <a:solidFill>
                  <a:schemeClr val="accent5"/>
                </a:solidFill>
                <a:latin typeface="+mn-lt"/>
                <a:ea typeface="+mn-ea"/>
                <a:cs typeface="+mn-cs"/>
              </a:defRPr>
            </a:lvl1pPr>
            <a:lvl2pPr marL="457212" indent="0" algn="l" defTabSz="914423" rtl="0" eaLnBrk="1" latinLnBrk="0" hangingPunct="1">
              <a:spcBef>
                <a:spcPts val="600"/>
              </a:spcBef>
              <a:buClr>
                <a:schemeClr val="tx2"/>
              </a:buClr>
              <a:buFont typeface="Arial" panose="020B0604020202020204" pitchFamily="34" charset="0"/>
              <a:buNone/>
              <a:defRPr sz="2000" b="1" kern="1200">
                <a:solidFill>
                  <a:schemeClr val="accent3"/>
                </a:solidFill>
                <a:latin typeface="+mn-lt"/>
                <a:ea typeface="+mn-ea"/>
                <a:cs typeface="+mn-cs"/>
              </a:defRPr>
            </a:lvl2pPr>
            <a:lvl3pPr marL="914423" indent="0" algn="l" defTabSz="914423" rtl="0" eaLnBrk="1" latinLnBrk="0" hangingPunct="1">
              <a:spcBef>
                <a:spcPts val="600"/>
              </a:spcBef>
              <a:buClrTx/>
              <a:buFont typeface="Arial" panose="020B0604020202020204" pitchFamily="34" charset="0"/>
              <a:buNone/>
              <a:defRPr sz="1800" b="1" kern="1200" baseline="0">
                <a:solidFill>
                  <a:schemeClr val="tx2"/>
                </a:solidFill>
                <a:latin typeface="+mn-lt"/>
                <a:ea typeface="+mn-ea"/>
                <a:cs typeface="+mn-cs"/>
              </a:defRPr>
            </a:lvl3pPr>
            <a:lvl4pPr marL="1371634" indent="0" algn="l" defTabSz="914423" rtl="0" eaLnBrk="1" latinLnBrk="0" hangingPunct="1">
              <a:spcBef>
                <a:spcPts val="600"/>
              </a:spcBef>
              <a:buClrTx/>
              <a:buFont typeface="Arial" panose="020B0604020202020204" pitchFamily="34" charset="0"/>
              <a:buNone/>
              <a:defRPr lang="de-DE" sz="1600" b="1" kern="1200">
                <a:solidFill>
                  <a:schemeClr val="tx2"/>
                </a:solidFill>
                <a:latin typeface="+mn-lt"/>
                <a:ea typeface="+mn-ea"/>
                <a:cs typeface="+mn-cs"/>
              </a:defRPr>
            </a:lvl4pPr>
            <a:lvl5pPr marL="1828846" indent="0" algn="l" defTabSz="914423" rtl="0" eaLnBrk="1" latinLnBrk="0" hangingPunct="1">
              <a:spcBef>
                <a:spcPts val="600"/>
              </a:spcBef>
              <a:buClrTx/>
              <a:buFont typeface="Arial" panose="020B0604020202020204" pitchFamily="34" charset="0"/>
              <a:buNone/>
              <a:defRPr sz="1600" b="1" kern="1200">
                <a:solidFill>
                  <a:schemeClr val="tx2"/>
                </a:solidFill>
                <a:latin typeface="+mn-lt"/>
                <a:ea typeface="+mn-ea"/>
                <a:cs typeface="+mn-cs"/>
              </a:defRPr>
            </a:lvl5pPr>
            <a:lvl6pPr marL="2286057"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6pPr>
            <a:lvl7pPr marL="2743269"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7pPr>
            <a:lvl8pPr marL="3200480" indent="0" algn="l" defTabSz="914423" rtl="0" eaLnBrk="1" latinLnBrk="0" hangingPunct="1">
              <a:spcBef>
                <a:spcPts val="600"/>
              </a:spcBef>
              <a:buClrTx/>
              <a:buFont typeface="Arial" panose="020B0604020202020204" pitchFamily="34" charset="0"/>
              <a:buNone/>
              <a:defRPr sz="1600" b="1" kern="1200">
                <a:solidFill>
                  <a:schemeClr val="tx1"/>
                </a:solidFill>
                <a:latin typeface="+mn-lt"/>
                <a:ea typeface="+mn-ea"/>
                <a:cs typeface="+mn-cs"/>
              </a:defRPr>
            </a:lvl8pPr>
            <a:lvl9pPr marL="3657691" indent="0" algn="l" defTabSz="914423" rtl="0" eaLnBrk="1" latinLnBrk="0" hangingPunct="1">
              <a:spcBef>
                <a:spcPts val="600"/>
              </a:spcBef>
              <a:buClrTx/>
              <a:buFont typeface="Arial" panose="020B0604020202020204" pitchFamily="34" charset="0"/>
              <a:buNone/>
              <a:defRPr sz="1600" b="1" kern="1200" baseline="0">
                <a:solidFill>
                  <a:schemeClr val="tx1"/>
                </a:solidFill>
                <a:latin typeface="+mn-lt"/>
                <a:ea typeface="+mn-ea"/>
                <a:cs typeface="+mn-cs"/>
              </a:defRPr>
            </a:lvl9pPr>
          </a:lstStyle>
          <a:p>
            <a:r>
              <a:rPr lang="en-US" sz="1600" b="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The average time to resolve complaint </a:t>
            </a:r>
            <a:r>
              <a:rPr lang="en-US" sz="1600" b="1" dirty="0" smtClean="0">
                <a:solidFill>
                  <a:srgbClr val="0070C0"/>
                </a:solidFill>
                <a:latin typeface="Verdana" panose="020B0604030504040204" pitchFamily="34" charset="0"/>
                <a:ea typeface="Verdana" panose="020B0604030504040204" pitchFamily="34" charset="0"/>
                <a:cs typeface="Verdana" panose="020B0604030504040204" pitchFamily="34" charset="0"/>
              </a:rPr>
              <a:t>decreased by 93% </a:t>
            </a:r>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without additional budget, while satisfaction indices increased e.g.:</a:t>
            </a:r>
          </a:p>
          <a:p>
            <a:pPr marL="285750" indent="-285750">
              <a:buFont typeface="Arial" panose="020B0604020202020204" pitchFamily="34" charset="0"/>
              <a:buChar char="•"/>
            </a:pPr>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Streets works index – </a:t>
            </a:r>
            <a:r>
              <a:rPr lang="en-US" sz="1600" b="1" dirty="0" smtClean="0">
                <a:solidFill>
                  <a:srgbClr val="0070C0"/>
                </a:solidFill>
                <a:latin typeface="Verdana" panose="020B0604030504040204" pitchFamily="34" charset="0"/>
                <a:ea typeface="Verdana" panose="020B0604030504040204" pitchFamily="34" charset="0"/>
                <a:cs typeface="Verdana" panose="020B0604030504040204" pitchFamily="34" charset="0"/>
              </a:rPr>
              <a:t>13 to 45</a:t>
            </a:r>
          </a:p>
          <a:p>
            <a:pPr marL="285750" indent="-285750">
              <a:buFont typeface="Arial" panose="020B0604020202020204" pitchFamily="34" charset="0"/>
              <a:buChar char="•"/>
            </a:pPr>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Public lighting index – </a:t>
            </a:r>
            <a:r>
              <a:rPr lang="en-US" sz="1600" b="1" dirty="0" smtClean="0">
                <a:solidFill>
                  <a:srgbClr val="0070C0"/>
                </a:solidFill>
                <a:latin typeface="Verdana" panose="020B0604030504040204" pitchFamily="34" charset="0"/>
                <a:ea typeface="Verdana" panose="020B0604030504040204" pitchFamily="34" charset="0"/>
                <a:cs typeface="Verdana" panose="020B0604030504040204" pitchFamily="34" charset="0"/>
              </a:rPr>
              <a:t>19 to 51</a:t>
            </a:r>
          </a:p>
          <a:p>
            <a:pPr marL="285750" indent="-285750">
              <a:buFont typeface="Arial" panose="020B0604020202020204" pitchFamily="34" charset="0"/>
              <a:buChar char="•"/>
            </a:pPr>
            <a:r>
              <a:rPr lang="en-US" sz="1600" dirty="0" smtClean="0">
                <a:solidFill>
                  <a:srgbClr val="0070C0"/>
                </a:solidFill>
                <a:latin typeface="Verdana" panose="020B0604030504040204" pitchFamily="34" charset="0"/>
                <a:ea typeface="Verdana" panose="020B0604030504040204" pitchFamily="34" charset="0"/>
                <a:cs typeface="Verdana" panose="020B0604030504040204" pitchFamily="34" charset="0"/>
              </a:rPr>
              <a:t>Green space satisfaction index – </a:t>
            </a:r>
            <a:r>
              <a:rPr lang="en-US" sz="1600" b="1" dirty="0" smtClean="0">
                <a:solidFill>
                  <a:srgbClr val="0070C0"/>
                </a:solidFill>
                <a:latin typeface="Verdana" panose="020B0604030504040204" pitchFamily="34" charset="0"/>
                <a:ea typeface="Verdana" panose="020B0604030504040204" pitchFamily="34" charset="0"/>
                <a:cs typeface="Verdana" panose="020B0604030504040204" pitchFamily="34" charset="0"/>
              </a:rPr>
              <a:t>49 to 76</a:t>
            </a:r>
            <a:endPar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r>
              <a:rPr lang="en-US" dirty="0" smtClean="0">
                <a:latin typeface="Verdana" panose="020B0604030504040204" pitchFamily="34" charset="0"/>
                <a:ea typeface="Verdana" panose="020B0604030504040204" pitchFamily="34" charset="0"/>
                <a:cs typeface="Verdana" panose="020B0604030504040204" pitchFamily="34" charset="0"/>
              </a:rPr>
              <a:t> </a:t>
            </a:r>
            <a:endParaRPr lang="en-US" sz="16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Picture 2"/>
          <p:cNvPicPr>
            <a:picLocks noChangeAspect="1"/>
          </p:cNvPicPr>
          <p:nvPr/>
        </p:nvPicPr>
        <p:blipFill>
          <a:blip r:embed="rId3"/>
          <a:stretch>
            <a:fillRect/>
          </a:stretch>
        </p:blipFill>
        <p:spPr>
          <a:xfrm>
            <a:off x="6164512" y="998800"/>
            <a:ext cx="1691775" cy="2430200"/>
          </a:xfrm>
          <a:prstGeom prst="rect">
            <a:avLst/>
          </a:prstGeom>
        </p:spPr>
      </p:pic>
      <p:grpSp>
        <p:nvGrpSpPr>
          <p:cNvPr id="5" name="Group 4"/>
          <p:cNvGrpSpPr>
            <a:grpSpLocks noChangeAspect="1"/>
          </p:cNvGrpSpPr>
          <p:nvPr/>
        </p:nvGrpSpPr>
        <p:grpSpPr bwMode="auto">
          <a:xfrm>
            <a:off x="387350" y="852488"/>
            <a:ext cx="5476875" cy="3598862"/>
            <a:chOff x="244" y="537"/>
            <a:chExt cx="3450" cy="2267"/>
          </a:xfrm>
        </p:grpSpPr>
        <p:sp>
          <p:nvSpPr>
            <p:cNvPr id="6" name="AutoShape 3"/>
            <p:cNvSpPr>
              <a:spLocks noChangeAspect="1" noChangeArrowheads="1" noTextEdit="1"/>
            </p:cNvSpPr>
            <p:nvPr/>
          </p:nvSpPr>
          <p:spPr bwMode="auto">
            <a:xfrm>
              <a:off x="244" y="537"/>
              <a:ext cx="3450" cy="2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717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4" y="537"/>
              <a:ext cx="3453" cy="2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8"/>
          <p:cNvGrpSpPr>
            <a:grpSpLocks noChangeAspect="1"/>
          </p:cNvGrpSpPr>
          <p:nvPr/>
        </p:nvGrpSpPr>
        <p:grpSpPr bwMode="auto">
          <a:xfrm>
            <a:off x="750888" y="4830763"/>
            <a:ext cx="3244850" cy="1333500"/>
            <a:chOff x="473" y="3043"/>
            <a:chExt cx="2044" cy="840"/>
          </a:xfrm>
        </p:grpSpPr>
        <p:sp>
          <p:nvSpPr>
            <p:cNvPr id="8" name="AutoShape 7"/>
            <p:cNvSpPr>
              <a:spLocks noChangeAspect="1" noChangeArrowheads="1" noTextEdit="1"/>
            </p:cNvSpPr>
            <p:nvPr/>
          </p:nvSpPr>
          <p:spPr bwMode="auto">
            <a:xfrm>
              <a:off x="473" y="3043"/>
              <a:ext cx="2044" cy="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717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3" y="3043"/>
              <a:ext cx="2048" cy="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2"/>
          <p:cNvGrpSpPr>
            <a:grpSpLocks noChangeAspect="1"/>
          </p:cNvGrpSpPr>
          <p:nvPr/>
        </p:nvGrpSpPr>
        <p:grpSpPr bwMode="auto">
          <a:xfrm>
            <a:off x="4573588" y="4783138"/>
            <a:ext cx="3268662" cy="1206500"/>
            <a:chOff x="2881" y="3013"/>
            <a:chExt cx="2059" cy="760"/>
          </a:xfrm>
        </p:grpSpPr>
        <p:sp>
          <p:nvSpPr>
            <p:cNvPr id="12" name="AutoShape 11"/>
            <p:cNvSpPr>
              <a:spLocks noChangeAspect="1" noChangeArrowheads="1" noTextEdit="1"/>
            </p:cNvSpPr>
            <p:nvPr/>
          </p:nvSpPr>
          <p:spPr bwMode="auto">
            <a:xfrm>
              <a:off x="2881" y="3013"/>
              <a:ext cx="2059" cy="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7181"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81" y="3013"/>
              <a:ext cx="2063" cy="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59258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325sOdNaEW7F2ItfOWfvg"/>
</p:tagLst>
</file>

<file path=ppt/theme/theme1.xml><?xml version="1.0" encoding="utf-8"?>
<a:theme xmlns:a="http://schemas.openxmlformats.org/drawingml/2006/main" name="Deloitte Proposals  Reports Template A4_050214_vw">
  <a:themeElements>
    <a:clrScheme name="Deloitte 2014">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5">
              <a:lumMod val="60000"/>
              <a:lumOff val="40000"/>
            </a:schemeClr>
          </a:solid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defTabSz="957610">
          <a:defRPr sz="14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lumMod val="60000"/>
              <a:lumOff val="40000"/>
            </a:schemeClr>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spcBef>
            <a:spcPts val="600"/>
          </a:spcBef>
          <a:buClr>
            <a:schemeClr val="tx2"/>
          </a:buClr>
          <a:defRPr sz="1400" dirty="0" err="1" smtClean="0">
            <a:solidFill>
              <a:schemeClr val="tx2"/>
            </a:solidFill>
          </a:defRPr>
        </a:defPPr>
      </a:lstStyle>
    </a:txDef>
  </a:objectDefaults>
  <a:extraClrSchemeLst/>
  <a:extLst>
    <a:ext uri="{05A4C25C-085E-4340-85A3-A5531E510DB2}">
      <thm15:themeFamily xmlns:thm15="http://schemas.microsoft.com/office/thememl/2012/main" name="Blanc 2015" id="{A9AD3851-56AF-487C-AF3E-8802DE041711}" vid="{564194A8-2546-48C4-B4C3-A7680DD0A7A3}"/>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4_3_Onscreen.potx" id="{BCABE9BB-82BA-46BF-86E5-450BDB6F3969}" vid="{3BF626C7-0922-43FA-85E1-B6DAF34B478B}"/>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4120</TotalTime>
  <Words>976</Words>
  <Application>Microsoft Office PowerPoint</Application>
  <PresentationFormat>Widescreen</PresentationFormat>
  <Paragraphs>167</Paragraphs>
  <Slides>11</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Arial</vt:lpstr>
      <vt:lpstr>Calibri</vt:lpstr>
      <vt:lpstr>Frutiger Next Pro Light</vt:lpstr>
      <vt:lpstr>Open Sans</vt:lpstr>
      <vt:lpstr>Verdana</vt:lpstr>
      <vt:lpstr>Deloitte Proposals  Reports Template A4_050214_vw</vt:lpstr>
      <vt:lpstr>Deloitte_US_Onscreen</vt:lpstr>
      <vt:lpstr>think-cell Slide</vt:lpstr>
      <vt:lpstr>PowerPoint Presentation</vt:lpstr>
      <vt:lpstr>PowerPoint Presentation</vt:lpstr>
      <vt:lpstr>PowerPoint Presentation</vt:lpstr>
      <vt:lpstr>Smart city framework</vt:lpstr>
      <vt:lpstr>Smart cities emerge as the result of many smart solutions across all sectors of society</vt:lpstr>
      <vt:lpstr>Smart City actor map</vt:lpstr>
      <vt:lpstr>The six roles of city government</vt:lpstr>
      <vt:lpstr>Client story - Amsterdam</vt:lpstr>
      <vt:lpstr>Client story – Buenos Aires</vt:lpstr>
      <vt:lpstr>How can Deloitte assis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 Dijk, Andries (NL - Amstelveen)</dc:creator>
  <cp:lastModifiedBy>AutoBVT</cp:lastModifiedBy>
  <cp:revision>994</cp:revision>
  <cp:lastPrinted>2015-11-19T13:55:45Z</cp:lastPrinted>
  <dcterms:created xsi:type="dcterms:W3CDTF">2015-07-06T06:15:40Z</dcterms:created>
  <dcterms:modified xsi:type="dcterms:W3CDTF">2017-12-13T07:37:54Z</dcterms:modified>
</cp:coreProperties>
</file>